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54.jpg" ContentType="image/png"/>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Lst>
  <p:notesMasterIdLst>
    <p:notesMasterId r:id="rId83"/>
  </p:notesMasterIdLst>
  <p:sldIdLst>
    <p:sldId id="312" r:id="rId5"/>
    <p:sldId id="259" r:id="rId6"/>
    <p:sldId id="327" r:id="rId7"/>
    <p:sldId id="328" r:id="rId8"/>
    <p:sldId id="383" r:id="rId9"/>
    <p:sldId id="381" r:id="rId10"/>
    <p:sldId id="443" r:id="rId11"/>
    <p:sldId id="387" r:id="rId12"/>
    <p:sldId id="393" r:id="rId13"/>
    <p:sldId id="389" r:id="rId14"/>
    <p:sldId id="390" r:id="rId15"/>
    <p:sldId id="391" r:id="rId16"/>
    <p:sldId id="392" r:id="rId17"/>
    <p:sldId id="385" r:id="rId18"/>
    <p:sldId id="394" r:id="rId19"/>
    <p:sldId id="395" r:id="rId20"/>
    <p:sldId id="396" r:id="rId21"/>
    <p:sldId id="397" r:id="rId22"/>
    <p:sldId id="399" r:id="rId23"/>
    <p:sldId id="400" r:id="rId24"/>
    <p:sldId id="401" r:id="rId25"/>
    <p:sldId id="379" r:id="rId26"/>
    <p:sldId id="377" r:id="rId27"/>
    <p:sldId id="402" r:id="rId28"/>
    <p:sldId id="376" r:id="rId29"/>
    <p:sldId id="403" r:id="rId30"/>
    <p:sldId id="405" r:id="rId31"/>
    <p:sldId id="404" r:id="rId32"/>
    <p:sldId id="378" r:id="rId33"/>
    <p:sldId id="406" r:id="rId34"/>
    <p:sldId id="407" r:id="rId35"/>
    <p:sldId id="412" r:id="rId36"/>
    <p:sldId id="410" r:id="rId37"/>
    <p:sldId id="415" r:id="rId38"/>
    <p:sldId id="416" r:id="rId39"/>
    <p:sldId id="408" r:id="rId40"/>
    <p:sldId id="411" r:id="rId41"/>
    <p:sldId id="439" r:id="rId42"/>
    <p:sldId id="417" r:id="rId43"/>
    <p:sldId id="425" r:id="rId44"/>
    <p:sldId id="428" r:id="rId45"/>
    <p:sldId id="429" r:id="rId46"/>
    <p:sldId id="431" r:id="rId47"/>
    <p:sldId id="430" r:id="rId48"/>
    <p:sldId id="418" r:id="rId49"/>
    <p:sldId id="434" r:id="rId50"/>
    <p:sldId id="420" r:id="rId51"/>
    <p:sldId id="435" r:id="rId52"/>
    <p:sldId id="421" r:id="rId53"/>
    <p:sldId id="436" r:id="rId54"/>
    <p:sldId id="419" r:id="rId55"/>
    <p:sldId id="424" r:id="rId56"/>
    <p:sldId id="409" r:id="rId57"/>
    <p:sldId id="386" r:id="rId58"/>
    <p:sldId id="440" r:id="rId59"/>
    <p:sldId id="449" r:id="rId60"/>
    <p:sldId id="450" r:id="rId61"/>
    <p:sldId id="453" r:id="rId62"/>
    <p:sldId id="444" r:id="rId63"/>
    <p:sldId id="451" r:id="rId64"/>
    <p:sldId id="445" r:id="rId65"/>
    <p:sldId id="452" r:id="rId66"/>
    <p:sldId id="446" r:id="rId67"/>
    <p:sldId id="441" r:id="rId68"/>
    <p:sldId id="261" r:id="rId69"/>
    <p:sldId id="265" r:id="rId70"/>
    <p:sldId id="276" r:id="rId71"/>
    <p:sldId id="277" r:id="rId72"/>
    <p:sldId id="289" r:id="rId73"/>
    <p:sldId id="286" r:id="rId74"/>
    <p:sldId id="442" r:id="rId75"/>
    <p:sldId id="282" r:id="rId76"/>
    <p:sldId id="447" r:id="rId77"/>
    <p:sldId id="341" r:id="rId78"/>
    <p:sldId id="448" r:id="rId79"/>
    <p:sldId id="332" r:id="rId80"/>
    <p:sldId id="297" r:id="rId81"/>
    <p:sldId id="262" r:id="rId82"/>
  </p:sldIdLst>
  <p:sldSz cx="12192000" cy="6858000"/>
  <p:notesSz cx="6858000" cy="9144000"/>
  <p:custDataLst>
    <p:tags r:id="rId84"/>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214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3B7052A-A97B-4FF0-9B00-E453F33B9B85}" v="5036" dt="2022-05-19T14:05:47.139"/>
    <p1510:client id="{359FB6C7-40E6-4D51-9415-8C6434942393}" v="88" dt="2022-05-20T07:32:37.866"/>
    <p1510:client id="{411ACCDE-3653-41FA-8468-2080EDD80002}" v="734" dt="2022-05-19T14:12:28.323"/>
    <p1510:client id="{B2812095-146B-4742-AE32-1403DA3374A1}" v="95" dt="2022-05-20T07:11:07.200"/>
    <p1510:client id="{E032F7B9-D634-8916-038A-CB3549918151}" v="1358" dt="2022-05-20T09:17:39.445"/>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143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tags" Target="tags/tag1.xml"/><Relationship Id="rId89"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microsoft.com/office/2015/10/relationships/revisionInfo" Target="revisionInfo.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ars Björn" userId="1c81218a-21ec-413f-8dc1-a8bd0b85f8ba" providerId="ADAL" clId="{23B7052A-A97B-4FF0-9B00-E453F33B9B85}"/>
    <pc:docChg chg="undo custSel addSld delSld modSld">
      <pc:chgData name="Olars Björn" userId="1c81218a-21ec-413f-8dc1-a8bd0b85f8ba" providerId="ADAL" clId="{23B7052A-A97B-4FF0-9B00-E453F33B9B85}" dt="2022-05-19T14:05:47.139" v="5030" actId="1076"/>
      <pc:docMkLst>
        <pc:docMk/>
      </pc:docMkLst>
      <pc:sldChg chg="addSp delSp modSp mod">
        <pc:chgData name="Olars Björn" userId="1c81218a-21ec-413f-8dc1-a8bd0b85f8ba" providerId="ADAL" clId="{23B7052A-A97B-4FF0-9B00-E453F33B9B85}" dt="2022-05-19T14:02:09.712" v="4797" actId="1036"/>
        <pc:sldMkLst>
          <pc:docMk/>
          <pc:sldMk cId="2512516227" sldId="449"/>
        </pc:sldMkLst>
        <pc:spChg chg="mod">
          <ac:chgData name="Olars Björn" userId="1c81218a-21ec-413f-8dc1-a8bd0b85f8ba" providerId="ADAL" clId="{23B7052A-A97B-4FF0-9B00-E453F33B9B85}" dt="2022-05-19T10:16:12.659" v="1360" actId="20577"/>
          <ac:spMkLst>
            <pc:docMk/>
            <pc:sldMk cId="2512516227" sldId="449"/>
            <ac:spMk id="2" creationId="{B98F9B8F-6C9B-EB05-7404-573F7AF85200}"/>
          </ac:spMkLst>
        </pc:spChg>
        <pc:spChg chg="mod">
          <ac:chgData name="Olars Björn" userId="1c81218a-21ec-413f-8dc1-a8bd0b85f8ba" providerId="ADAL" clId="{23B7052A-A97B-4FF0-9B00-E453F33B9B85}" dt="2022-05-19T14:02:09.712" v="4797" actId="1036"/>
          <ac:spMkLst>
            <pc:docMk/>
            <pc:sldMk cId="2512516227" sldId="449"/>
            <ac:spMk id="3" creationId="{9E10EE92-06FA-42D7-1E5F-EA2D2697115D}"/>
          </ac:spMkLst>
        </pc:spChg>
        <pc:spChg chg="add del mod">
          <ac:chgData name="Olars Björn" userId="1c81218a-21ec-413f-8dc1-a8bd0b85f8ba" providerId="ADAL" clId="{23B7052A-A97B-4FF0-9B00-E453F33B9B85}" dt="2022-05-19T10:19:27.146" v="1542" actId="21"/>
          <ac:spMkLst>
            <pc:docMk/>
            <pc:sldMk cId="2512516227" sldId="449"/>
            <ac:spMk id="7" creationId="{5912732D-D983-4FF1-83B8-6515D8A455D6}"/>
          </ac:spMkLst>
        </pc:spChg>
        <pc:spChg chg="add del mod ord">
          <ac:chgData name="Olars Björn" userId="1c81218a-21ec-413f-8dc1-a8bd0b85f8ba" providerId="ADAL" clId="{23B7052A-A97B-4FF0-9B00-E453F33B9B85}" dt="2022-05-19T13:37:38.470" v="3717" actId="478"/>
          <ac:spMkLst>
            <pc:docMk/>
            <pc:sldMk cId="2512516227" sldId="449"/>
            <ac:spMk id="8" creationId="{AD2A456A-D938-4EAA-9D75-EB5D0E9BA9CA}"/>
          </ac:spMkLst>
        </pc:spChg>
        <pc:picChg chg="mod">
          <ac:chgData name="Olars Björn" userId="1c81218a-21ec-413f-8dc1-a8bd0b85f8ba" providerId="ADAL" clId="{23B7052A-A97B-4FF0-9B00-E453F33B9B85}" dt="2022-05-19T13:50:52.210" v="4484" actId="1076"/>
          <ac:picMkLst>
            <pc:docMk/>
            <pc:sldMk cId="2512516227" sldId="449"/>
            <ac:picMk id="6" creationId="{047DE29D-C8D2-8E95-6166-7B54DF07FAC4}"/>
          </ac:picMkLst>
        </pc:picChg>
        <pc:picChg chg="add del mod">
          <ac:chgData name="Olars Björn" userId="1c81218a-21ec-413f-8dc1-a8bd0b85f8ba" providerId="ADAL" clId="{23B7052A-A97B-4FF0-9B00-E453F33B9B85}" dt="2022-05-19T13:34:35.363" v="3576" actId="478"/>
          <ac:picMkLst>
            <pc:docMk/>
            <pc:sldMk cId="2512516227" sldId="449"/>
            <ac:picMk id="9" creationId="{A58D34EC-BC9A-4FD9-852B-381E9F17611A}"/>
          </ac:picMkLst>
        </pc:picChg>
      </pc:sldChg>
      <pc:sldChg chg="addSp delSp modSp new mod">
        <pc:chgData name="Olars Björn" userId="1c81218a-21ec-413f-8dc1-a8bd0b85f8ba" providerId="ADAL" clId="{23B7052A-A97B-4FF0-9B00-E453F33B9B85}" dt="2022-05-19T14:05:47.139" v="5030" actId="1076"/>
        <pc:sldMkLst>
          <pc:docMk/>
          <pc:sldMk cId="3047865759" sldId="450"/>
        </pc:sldMkLst>
        <pc:spChg chg="del mod">
          <ac:chgData name="Olars Björn" userId="1c81218a-21ec-413f-8dc1-a8bd0b85f8ba" providerId="ADAL" clId="{23B7052A-A97B-4FF0-9B00-E453F33B9B85}" dt="2022-05-19T13:36:46.127" v="3601" actId="478"/>
          <ac:spMkLst>
            <pc:docMk/>
            <pc:sldMk cId="3047865759" sldId="450"/>
            <ac:spMk id="2" creationId="{009ADD67-D4BF-4DB7-8473-845B639E34FB}"/>
          </ac:spMkLst>
        </pc:spChg>
        <pc:spChg chg="del">
          <ac:chgData name="Olars Björn" userId="1c81218a-21ec-413f-8dc1-a8bd0b85f8ba" providerId="ADAL" clId="{23B7052A-A97B-4FF0-9B00-E453F33B9B85}" dt="2022-05-19T13:35:22.730" v="3582" actId="478"/>
          <ac:spMkLst>
            <pc:docMk/>
            <pc:sldMk cId="3047865759" sldId="450"/>
            <ac:spMk id="3" creationId="{16600EAA-2E0F-47A0-90A0-1FB634BAE22D}"/>
          </ac:spMkLst>
        </pc:spChg>
        <pc:spChg chg="add mod">
          <ac:chgData name="Olars Björn" userId="1c81218a-21ec-413f-8dc1-a8bd0b85f8ba" providerId="ADAL" clId="{23B7052A-A97B-4FF0-9B00-E453F33B9B85}" dt="2022-05-19T14:05:47.139" v="5030" actId="1076"/>
          <ac:spMkLst>
            <pc:docMk/>
            <pc:sldMk cId="3047865759" sldId="450"/>
            <ac:spMk id="6" creationId="{DA535E35-64C2-45C2-BC4B-6B2A9713ADB8}"/>
          </ac:spMkLst>
        </pc:spChg>
        <pc:spChg chg="mod">
          <ac:chgData name="Olars Björn" userId="1c81218a-21ec-413f-8dc1-a8bd0b85f8ba" providerId="ADAL" clId="{23B7052A-A97B-4FF0-9B00-E453F33B9B85}" dt="2022-05-19T13:35:46.356" v="3585"/>
          <ac:spMkLst>
            <pc:docMk/>
            <pc:sldMk cId="3047865759" sldId="450"/>
            <ac:spMk id="8" creationId="{82108427-187C-425C-A30E-EEFDD469305B}"/>
          </ac:spMkLst>
        </pc:spChg>
        <pc:spChg chg="mod">
          <ac:chgData name="Olars Björn" userId="1c81218a-21ec-413f-8dc1-a8bd0b85f8ba" providerId="ADAL" clId="{23B7052A-A97B-4FF0-9B00-E453F33B9B85}" dt="2022-05-19T13:35:46.356" v="3585"/>
          <ac:spMkLst>
            <pc:docMk/>
            <pc:sldMk cId="3047865759" sldId="450"/>
            <ac:spMk id="9" creationId="{E64ECC50-D0FD-4076-A530-4271E5C7893F}"/>
          </ac:spMkLst>
        </pc:spChg>
        <pc:spChg chg="mod">
          <ac:chgData name="Olars Björn" userId="1c81218a-21ec-413f-8dc1-a8bd0b85f8ba" providerId="ADAL" clId="{23B7052A-A97B-4FF0-9B00-E453F33B9B85}" dt="2022-05-19T13:35:46.356" v="3585"/>
          <ac:spMkLst>
            <pc:docMk/>
            <pc:sldMk cId="3047865759" sldId="450"/>
            <ac:spMk id="10" creationId="{98820F38-8D31-4A01-8D1D-2CF0D6A3B875}"/>
          </ac:spMkLst>
        </pc:spChg>
        <pc:spChg chg="mod">
          <ac:chgData name="Olars Björn" userId="1c81218a-21ec-413f-8dc1-a8bd0b85f8ba" providerId="ADAL" clId="{23B7052A-A97B-4FF0-9B00-E453F33B9B85}" dt="2022-05-19T13:35:46.356" v="3585"/>
          <ac:spMkLst>
            <pc:docMk/>
            <pc:sldMk cId="3047865759" sldId="450"/>
            <ac:spMk id="11" creationId="{2DAE38A7-6C28-4B21-BB96-0DCE405E26E4}"/>
          </ac:spMkLst>
        </pc:spChg>
        <pc:spChg chg="mod">
          <ac:chgData name="Olars Björn" userId="1c81218a-21ec-413f-8dc1-a8bd0b85f8ba" providerId="ADAL" clId="{23B7052A-A97B-4FF0-9B00-E453F33B9B85}" dt="2022-05-19T13:35:46.356" v="3585"/>
          <ac:spMkLst>
            <pc:docMk/>
            <pc:sldMk cId="3047865759" sldId="450"/>
            <ac:spMk id="13" creationId="{C9F9AF7C-C372-411A-8927-A7F3C20C4993}"/>
          </ac:spMkLst>
        </pc:spChg>
        <pc:spChg chg="mod">
          <ac:chgData name="Olars Björn" userId="1c81218a-21ec-413f-8dc1-a8bd0b85f8ba" providerId="ADAL" clId="{23B7052A-A97B-4FF0-9B00-E453F33B9B85}" dt="2022-05-19T13:35:46.356" v="3585"/>
          <ac:spMkLst>
            <pc:docMk/>
            <pc:sldMk cId="3047865759" sldId="450"/>
            <ac:spMk id="14" creationId="{0C3BC42E-3BDE-4ED3-9E02-219BDF1C0BC1}"/>
          </ac:spMkLst>
        </pc:spChg>
        <pc:spChg chg="mod">
          <ac:chgData name="Olars Björn" userId="1c81218a-21ec-413f-8dc1-a8bd0b85f8ba" providerId="ADAL" clId="{23B7052A-A97B-4FF0-9B00-E453F33B9B85}" dt="2022-05-19T13:35:46.356" v="3585"/>
          <ac:spMkLst>
            <pc:docMk/>
            <pc:sldMk cId="3047865759" sldId="450"/>
            <ac:spMk id="15" creationId="{F30041AF-F1A9-4779-87C9-EBDEF78A71B3}"/>
          </ac:spMkLst>
        </pc:spChg>
        <pc:spChg chg="mod">
          <ac:chgData name="Olars Björn" userId="1c81218a-21ec-413f-8dc1-a8bd0b85f8ba" providerId="ADAL" clId="{23B7052A-A97B-4FF0-9B00-E453F33B9B85}" dt="2022-05-19T13:35:46.356" v="3585"/>
          <ac:spMkLst>
            <pc:docMk/>
            <pc:sldMk cId="3047865759" sldId="450"/>
            <ac:spMk id="16" creationId="{3D9C9000-49AE-431A-B3A2-C85E555DA045}"/>
          </ac:spMkLst>
        </pc:spChg>
        <pc:spChg chg="mod">
          <ac:chgData name="Olars Björn" userId="1c81218a-21ec-413f-8dc1-a8bd0b85f8ba" providerId="ADAL" clId="{23B7052A-A97B-4FF0-9B00-E453F33B9B85}" dt="2022-05-19T13:35:46.356" v="3585"/>
          <ac:spMkLst>
            <pc:docMk/>
            <pc:sldMk cId="3047865759" sldId="450"/>
            <ac:spMk id="18" creationId="{2BFDA12C-3A54-4CF7-B456-9AF02DC258EA}"/>
          </ac:spMkLst>
        </pc:spChg>
        <pc:spChg chg="mod">
          <ac:chgData name="Olars Björn" userId="1c81218a-21ec-413f-8dc1-a8bd0b85f8ba" providerId="ADAL" clId="{23B7052A-A97B-4FF0-9B00-E453F33B9B85}" dt="2022-05-19T13:35:46.356" v="3585"/>
          <ac:spMkLst>
            <pc:docMk/>
            <pc:sldMk cId="3047865759" sldId="450"/>
            <ac:spMk id="19" creationId="{A77A71C0-C661-4A2E-9F4C-C70002B55901}"/>
          </ac:spMkLst>
        </pc:spChg>
        <pc:spChg chg="mod">
          <ac:chgData name="Olars Björn" userId="1c81218a-21ec-413f-8dc1-a8bd0b85f8ba" providerId="ADAL" clId="{23B7052A-A97B-4FF0-9B00-E453F33B9B85}" dt="2022-05-19T13:35:46.356" v="3585"/>
          <ac:spMkLst>
            <pc:docMk/>
            <pc:sldMk cId="3047865759" sldId="450"/>
            <ac:spMk id="20" creationId="{5A7631B1-2D90-4C44-BE46-D4B1567DB03C}"/>
          </ac:spMkLst>
        </pc:spChg>
        <pc:spChg chg="mod">
          <ac:chgData name="Olars Björn" userId="1c81218a-21ec-413f-8dc1-a8bd0b85f8ba" providerId="ADAL" clId="{23B7052A-A97B-4FF0-9B00-E453F33B9B85}" dt="2022-05-19T13:35:46.356" v="3585"/>
          <ac:spMkLst>
            <pc:docMk/>
            <pc:sldMk cId="3047865759" sldId="450"/>
            <ac:spMk id="21" creationId="{7AE60579-C7B6-4CFE-9A59-BBE2BA08B974}"/>
          </ac:spMkLst>
        </pc:spChg>
        <pc:spChg chg="mod">
          <ac:chgData name="Olars Björn" userId="1c81218a-21ec-413f-8dc1-a8bd0b85f8ba" providerId="ADAL" clId="{23B7052A-A97B-4FF0-9B00-E453F33B9B85}" dt="2022-05-19T13:35:46.356" v="3585"/>
          <ac:spMkLst>
            <pc:docMk/>
            <pc:sldMk cId="3047865759" sldId="450"/>
            <ac:spMk id="23" creationId="{C3ACD502-CE73-411B-B1EC-F9F22784E5E4}"/>
          </ac:spMkLst>
        </pc:spChg>
        <pc:spChg chg="mod">
          <ac:chgData name="Olars Björn" userId="1c81218a-21ec-413f-8dc1-a8bd0b85f8ba" providerId="ADAL" clId="{23B7052A-A97B-4FF0-9B00-E453F33B9B85}" dt="2022-05-19T13:35:46.356" v="3585"/>
          <ac:spMkLst>
            <pc:docMk/>
            <pc:sldMk cId="3047865759" sldId="450"/>
            <ac:spMk id="24" creationId="{0354C5E0-7C01-41FE-996C-80478B0DA9E8}"/>
          </ac:spMkLst>
        </pc:spChg>
        <pc:spChg chg="mod">
          <ac:chgData name="Olars Björn" userId="1c81218a-21ec-413f-8dc1-a8bd0b85f8ba" providerId="ADAL" clId="{23B7052A-A97B-4FF0-9B00-E453F33B9B85}" dt="2022-05-19T13:35:46.356" v="3585"/>
          <ac:spMkLst>
            <pc:docMk/>
            <pc:sldMk cId="3047865759" sldId="450"/>
            <ac:spMk id="25" creationId="{4EE4FB46-97CC-442F-A4EA-D41B935AB5C6}"/>
          </ac:spMkLst>
        </pc:spChg>
        <pc:spChg chg="mod">
          <ac:chgData name="Olars Björn" userId="1c81218a-21ec-413f-8dc1-a8bd0b85f8ba" providerId="ADAL" clId="{23B7052A-A97B-4FF0-9B00-E453F33B9B85}" dt="2022-05-19T13:35:46.356" v="3585"/>
          <ac:spMkLst>
            <pc:docMk/>
            <pc:sldMk cId="3047865759" sldId="450"/>
            <ac:spMk id="26" creationId="{449CB729-06DF-4C73-9BC0-24F575D7A35E}"/>
          </ac:spMkLst>
        </pc:spChg>
        <pc:spChg chg="mod">
          <ac:chgData name="Olars Björn" userId="1c81218a-21ec-413f-8dc1-a8bd0b85f8ba" providerId="ADAL" clId="{23B7052A-A97B-4FF0-9B00-E453F33B9B85}" dt="2022-05-19T13:35:46.356" v="3585"/>
          <ac:spMkLst>
            <pc:docMk/>
            <pc:sldMk cId="3047865759" sldId="450"/>
            <ac:spMk id="28" creationId="{A8A2E420-29FC-424D-BBD2-D8BBA4E0F790}"/>
          </ac:spMkLst>
        </pc:spChg>
        <pc:spChg chg="mod">
          <ac:chgData name="Olars Björn" userId="1c81218a-21ec-413f-8dc1-a8bd0b85f8ba" providerId="ADAL" clId="{23B7052A-A97B-4FF0-9B00-E453F33B9B85}" dt="2022-05-19T13:35:46.356" v="3585"/>
          <ac:spMkLst>
            <pc:docMk/>
            <pc:sldMk cId="3047865759" sldId="450"/>
            <ac:spMk id="29" creationId="{7F56E3AE-1CFB-495D-9F31-281C34D3941F}"/>
          </ac:spMkLst>
        </pc:spChg>
        <pc:spChg chg="mod">
          <ac:chgData name="Olars Björn" userId="1c81218a-21ec-413f-8dc1-a8bd0b85f8ba" providerId="ADAL" clId="{23B7052A-A97B-4FF0-9B00-E453F33B9B85}" dt="2022-05-19T13:35:46.356" v="3585"/>
          <ac:spMkLst>
            <pc:docMk/>
            <pc:sldMk cId="3047865759" sldId="450"/>
            <ac:spMk id="30" creationId="{D0FC6787-0BBD-4490-9288-68968D0FD51B}"/>
          </ac:spMkLst>
        </pc:spChg>
        <pc:spChg chg="mod">
          <ac:chgData name="Olars Björn" userId="1c81218a-21ec-413f-8dc1-a8bd0b85f8ba" providerId="ADAL" clId="{23B7052A-A97B-4FF0-9B00-E453F33B9B85}" dt="2022-05-19T13:35:46.356" v="3585"/>
          <ac:spMkLst>
            <pc:docMk/>
            <pc:sldMk cId="3047865759" sldId="450"/>
            <ac:spMk id="31" creationId="{BF13B965-2A37-4FB8-A04D-674F01A998FC}"/>
          </ac:spMkLst>
        </pc:spChg>
        <pc:spChg chg="mod">
          <ac:chgData name="Olars Björn" userId="1c81218a-21ec-413f-8dc1-a8bd0b85f8ba" providerId="ADAL" clId="{23B7052A-A97B-4FF0-9B00-E453F33B9B85}" dt="2022-05-19T13:35:46.356" v="3585"/>
          <ac:spMkLst>
            <pc:docMk/>
            <pc:sldMk cId="3047865759" sldId="450"/>
            <ac:spMk id="33" creationId="{ACDCAF96-73FF-4996-96E5-C8313016E5BC}"/>
          </ac:spMkLst>
        </pc:spChg>
        <pc:spChg chg="mod">
          <ac:chgData name="Olars Björn" userId="1c81218a-21ec-413f-8dc1-a8bd0b85f8ba" providerId="ADAL" clId="{23B7052A-A97B-4FF0-9B00-E453F33B9B85}" dt="2022-05-19T13:35:46.356" v="3585"/>
          <ac:spMkLst>
            <pc:docMk/>
            <pc:sldMk cId="3047865759" sldId="450"/>
            <ac:spMk id="34" creationId="{E9BD4607-0EC2-4D02-A208-B6E08982136B}"/>
          </ac:spMkLst>
        </pc:spChg>
        <pc:spChg chg="mod">
          <ac:chgData name="Olars Björn" userId="1c81218a-21ec-413f-8dc1-a8bd0b85f8ba" providerId="ADAL" clId="{23B7052A-A97B-4FF0-9B00-E453F33B9B85}" dt="2022-05-19T13:35:46.356" v="3585"/>
          <ac:spMkLst>
            <pc:docMk/>
            <pc:sldMk cId="3047865759" sldId="450"/>
            <ac:spMk id="35" creationId="{8D204610-03FB-4624-AB72-4A871FEB4AB3}"/>
          </ac:spMkLst>
        </pc:spChg>
        <pc:spChg chg="mod">
          <ac:chgData name="Olars Björn" userId="1c81218a-21ec-413f-8dc1-a8bd0b85f8ba" providerId="ADAL" clId="{23B7052A-A97B-4FF0-9B00-E453F33B9B85}" dt="2022-05-19T13:35:46.356" v="3585"/>
          <ac:spMkLst>
            <pc:docMk/>
            <pc:sldMk cId="3047865759" sldId="450"/>
            <ac:spMk id="36" creationId="{C6C4FFF1-7AAA-477B-B627-71493018ADA1}"/>
          </ac:spMkLst>
        </pc:spChg>
        <pc:spChg chg="mod">
          <ac:chgData name="Olars Björn" userId="1c81218a-21ec-413f-8dc1-a8bd0b85f8ba" providerId="ADAL" clId="{23B7052A-A97B-4FF0-9B00-E453F33B9B85}" dt="2022-05-19T13:35:46.356" v="3585"/>
          <ac:spMkLst>
            <pc:docMk/>
            <pc:sldMk cId="3047865759" sldId="450"/>
            <ac:spMk id="38" creationId="{51C3C238-BF16-4455-8C90-6C4689FB8249}"/>
          </ac:spMkLst>
        </pc:spChg>
        <pc:spChg chg="mod">
          <ac:chgData name="Olars Björn" userId="1c81218a-21ec-413f-8dc1-a8bd0b85f8ba" providerId="ADAL" clId="{23B7052A-A97B-4FF0-9B00-E453F33B9B85}" dt="2022-05-19T13:35:46.356" v="3585"/>
          <ac:spMkLst>
            <pc:docMk/>
            <pc:sldMk cId="3047865759" sldId="450"/>
            <ac:spMk id="39" creationId="{07DC7527-4799-4DC6-97C1-CE8A6300CC3F}"/>
          </ac:spMkLst>
        </pc:spChg>
        <pc:spChg chg="mod">
          <ac:chgData name="Olars Björn" userId="1c81218a-21ec-413f-8dc1-a8bd0b85f8ba" providerId="ADAL" clId="{23B7052A-A97B-4FF0-9B00-E453F33B9B85}" dt="2022-05-19T13:35:46.356" v="3585"/>
          <ac:spMkLst>
            <pc:docMk/>
            <pc:sldMk cId="3047865759" sldId="450"/>
            <ac:spMk id="40" creationId="{21BC232D-19BF-46A7-9CFF-0940F7EF0967}"/>
          </ac:spMkLst>
        </pc:spChg>
        <pc:spChg chg="mod">
          <ac:chgData name="Olars Björn" userId="1c81218a-21ec-413f-8dc1-a8bd0b85f8ba" providerId="ADAL" clId="{23B7052A-A97B-4FF0-9B00-E453F33B9B85}" dt="2022-05-19T13:35:46.356" v="3585"/>
          <ac:spMkLst>
            <pc:docMk/>
            <pc:sldMk cId="3047865759" sldId="450"/>
            <ac:spMk id="41" creationId="{76D47284-0BE8-4812-85CC-C37F0D92B948}"/>
          </ac:spMkLst>
        </pc:spChg>
        <pc:spChg chg="mod">
          <ac:chgData name="Olars Björn" userId="1c81218a-21ec-413f-8dc1-a8bd0b85f8ba" providerId="ADAL" clId="{23B7052A-A97B-4FF0-9B00-E453F33B9B85}" dt="2022-05-19T13:35:46.356" v="3585"/>
          <ac:spMkLst>
            <pc:docMk/>
            <pc:sldMk cId="3047865759" sldId="450"/>
            <ac:spMk id="43" creationId="{9BC098AB-A6F4-4E78-9494-05EC9C8769E4}"/>
          </ac:spMkLst>
        </pc:spChg>
        <pc:spChg chg="mod">
          <ac:chgData name="Olars Björn" userId="1c81218a-21ec-413f-8dc1-a8bd0b85f8ba" providerId="ADAL" clId="{23B7052A-A97B-4FF0-9B00-E453F33B9B85}" dt="2022-05-19T13:35:46.356" v="3585"/>
          <ac:spMkLst>
            <pc:docMk/>
            <pc:sldMk cId="3047865759" sldId="450"/>
            <ac:spMk id="44" creationId="{1C42E1F5-1D69-4883-AF04-6144DEC92340}"/>
          </ac:spMkLst>
        </pc:spChg>
        <pc:spChg chg="mod">
          <ac:chgData name="Olars Björn" userId="1c81218a-21ec-413f-8dc1-a8bd0b85f8ba" providerId="ADAL" clId="{23B7052A-A97B-4FF0-9B00-E453F33B9B85}" dt="2022-05-19T13:35:46.356" v="3585"/>
          <ac:spMkLst>
            <pc:docMk/>
            <pc:sldMk cId="3047865759" sldId="450"/>
            <ac:spMk id="45" creationId="{AEEF0325-C602-408C-B10C-E643FCDFA017}"/>
          </ac:spMkLst>
        </pc:spChg>
        <pc:spChg chg="mod">
          <ac:chgData name="Olars Björn" userId="1c81218a-21ec-413f-8dc1-a8bd0b85f8ba" providerId="ADAL" clId="{23B7052A-A97B-4FF0-9B00-E453F33B9B85}" dt="2022-05-19T13:35:46.356" v="3585"/>
          <ac:spMkLst>
            <pc:docMk/>
            <pc:sldMk cId="3047865759" sldId="450"/>
            <ac:spMk id="46" creationId="{6DF121E5-ACE6-4716-A950-6B979F592481}"/>
          </ac:spMkLst>
        </pc:spChg>
        <pc:spChg chg="mod">
          <ac:chgData name="Olars Björn" userId="1c81218a-21ec-413f-8dc1-a8bd0b85f8ba" providerId="ADAL" clId="{23B7052A-A97B-4FF0-9B00-E453F33B9B85}" dt="2022-05-19T13:35:46.356" v="3585"/>
          <ac:spMkLst>
            <pc:docMk/>
            <pc:sldMk cId="3047865759" sldId="450"/>
            <ac:spMk id="48" creationId="{2F555090-0BCA-4523-8885-2F7FF5C83933}"/>
          </ac:spMkLst>
        </pc:spChg>
        <pc:spChg chg="mod">
          <ac:chgData name="Olars Björn" userId="1c81218a-21ec-413f-8dc1-a8bd0b85f8ba" providerId="ADAL" clId="{23B7052A-A97B-4FF0-9B00-E453F33B9B85}" dt="2022-05-19T13:35:46.356" v="3585"/>
          <ac:spMkLst>
            <pc:docMk/>
            <pc:sldMk cId="3047865759" sldId="450"/>
            <ac:spMk id="49" creationId="{F7AF976A-91B1-4FFB-BC5B-E5D1DD9AEA3F}"/>
          </ac:spMkLst>
        </pc:spChg>
        <pc:spChg chg="mod">
          <ac:chgData name="Olars Björn" userId="1c81218a-21ec-413f-8dc1-a8bd0b85f8ba" providerId="ADAL" clId="{23B7052A-A97B-4FF0-9B00-E453F33B9B85}" dt="2022-05-19T13:35:46.356" v="3585"/>
          <ac:spMkLst>
            <pc:docMk/>
            <pc:sldMk cId="3047865759" sldId="450"/>
            <ac:spMk id="50" creationId="{1C88C1A2-129C-4DC4-809E-CD5B1E4939A5}"/>
          </ac:spMkLst>
        </pc:spChg>
        <pc:spChg chg="mod">
          <ac:chgData name="Olars Björn" userId="1c81218a-21ec-413f-8dc1-a8bd0b85f8ba" providerId="ADAL" clId="{23B7052A-A97B-4FF0-9B00-E453F33B9B85}" dt="2022-05-19T13:35:46.356" v="3585"/>
          <ac:spMkLst>
            <pc:docMk/>
            <pc:sldMk cId="3047865759" sldId="450"/>
            <ac:spMk id="51" creationId="{ABFDE159-9934-4F10-B3B0-4F4471AA1D6F}"/>
          </ac:spMkLst>
        </pc:spChg>
        <pc:spChg chg="mod">
          <ac:chgData name="Olars Björn" userId="1c81218a-21ec-413f-8dc1-a8bd0b85f8ba" providerId="ADAL" clId="{23B7052A-A97B-4FF0-9B00-E453F33B9B85}" dt="2022-05-19T13:35:46.356" v="3585"/>
          <ac:spMkLst>
            <pc:docMk/>
            <pc:sldMk cId="3047865759" sldId="450"/>
            <ac:spMk id="53" creationId="{334FC4DF-A443-4462-834C-493D7ECDF22A}"/>
          </ac:spMkLst>
        </pc:spChg>
        <pc:spChg chg="mod">
          <ac:chgData name="Olars Björn" userId="1c81218a-21ec-413f-8dc1-a8bd0b85f8ba" providerId="ADAL" clId="{23B7052A-A97B-4FF0-9B00-E453F33B9B85}" dt="2022-05-19T13:35:46.356" v="3585"/>
          <ac:spMkLst>
            <pc:docMk/>
            <pc:sldMk cId="3047865759" sldId="450"/>
            <ac:spMk id="54" creationId="{82420EE5-6ACC-48E7-B46B-5DB800F7F639}"/>
          </ac:spMkLst>
        </pc:spChg>
        <pc:spChg chg="mod">
          <ac:chgData name="Olars Björn" userId="1c81218a-21ec-413f-8dc1-a8bd0b85f8ba" providerId="ADAL" clId="{23B7052A-A97B-4FF0-9B00-E453F33B9B85}" dt="2022-05-19T13:35:46.356" v="3585"/>
          <ac:spMkLst>
            <pc:docMk/>
            <pc:sldMk cId="3047865759" sldId="450"/>
            <ac:spMk id="55" creationId="{2A9682FC-0CEE-4348-9C76-BFCCA35D2976}"/>
          </ac:spMkLst>
        </pc:spChg>
        <pc:spChg chg="mod">
          <ac:chgData name="Olars Björn" userId="1c81218a-21ec-413f-8dc1-a8bd0b85f8ba" providerId="ADAL" clId="{23B7052A-A97B-4FF0-9B00-E453F33B9B85}" dt="2022-05-19T13:35:46.356" v="3585"/>
          <ac:spMkLst>
            <pc:docMk/>
            <pc:sldMk cId="3047865759" sldId="450"/>
            <ac:spMk id="56" creationId="{1FB59CC7-E8BC-4A79-B3F8-130DD1E501A0}"/>
          </ac:spMkLst>
        </pc:spChg>
        <pc:spChg chg="mod">
          <ac:chgData name="Olars Björn" userId="1c81218a-21ec-413f-8dc1-a8bd0b85f8ba" providerId="ADAL" clId="{23B7052A-A97B-4FF0-9B00-E453F33B9B85}" dt="2022-05-19T13:35:46.356" v="3585"/>
          <ac:spMkLst>
            <pc:docMk/>
            <pc:sldMk cId="3047865759" sldId="450"/>
            <ac:spMk id="58" creationId="{F80D26A6-FDB4-4C6E-B769-95013A5FB329}"/>
          </ac:spMkLst>
        </pc:spChg>
        <pc:spChg chg="mod">
          <ac:chgData name="Olars Björn" userId="1c81218a-21ec-413f-8dc1-a8bd0b85f8ba" providerId="ADAL" clId="{23B7052A-A97B-4FF0-9B00-E453F33B9B85}" dt="2022-05-19T13:35:46.356" v="3585"/>
          <ac:spMkLst>
            <pc:docMk/>
            <pc:sldMk cId="3047865759" sldId="450"/>
            <ac:spMk id="59" creationId="{367E2981-644E-435F-A337-75560474F23B}"/>
          </ac:spMkLst>
        </pc:spChg>
        <pc:spChg chg="mod">
          <ac:chgData name="Olars Björn" userId="1c81218a-21ec-413f-8dc1-a8bd0b85f8ba" providerId="ADAL" clId="{23B7052A-A97B-4FF0-9B00-E453F33B9B85}" dt="2022-05-19T13:35:46.356" v="3585"/>
          <ac:spMkLst>
            <pc:docMk/>
            <pc:sldMk cId="3047865759" sldId="450"/>
            <ac:spMk id="60" creationId="{FD75F9D7-D640-42C7-BABA-9A97F97068AA}"/>
          </ac:spMkLst>
        </pc:spChg>
        <pc:spChg chg="mod">
          <ac:chgData name="Olars Björn" userId="1c81218a-21ec-413f-8dc1-a8bd0b85f8ba" providerId="ADAL" clId="{23B7052A-A97B-4FF0-9B00-E453F33B9B85}" dt="2022-05-19T13:35:46.356" v="3585"/>
          <ac:spMkLst>
            <pc:docMk/>
            <pc:sldMk cId="3047865759" sldId="450"/>
            <ac:spMk id="61" creationId="{7BCA6D53-28A7-4CCA-84BB-A5F2DDEEEDAD}"/>
          </ac:spMkLst>
        </pc:spChg>
        <pc:spChg chg="mod">
          <ac:chgData name="Olars Björn" userId="1c81218a-21ec-413f-8dc1-a8bd0b85f8ba" providerId="ADAL" clId="{23B7052A-A97B-4FF0-9B00-E453F33B9B85}" dt="2022-05-19T13:35:46.356" v="3585"/>
          <ac:spMkLst>
            <pc:docMk/>
            <pc:sldMk cId="3047865759" sldId="450"/>
            <ac:spMk id="63" creationId="{E54B7ABE-7414-42BD-BE31-D5A054D1F1EB}"/>
          </ac:spMkLst>
        </pc:spChg>
        <pc:spChg chg="mod">
          <ac:chgData name="Olars Björn" userId="1c81218a-21ec-413f-8dc1-a8bd0b85f8ba" providerId="ADAL" clId="{23B7052A-A97B-4FF0-9B00-E453F33B9B85}" dt="2022-05-19T13:35:46.356" v="3585"/>
          <ac:spMkLst>
            <pc:docMk/>
            <pc:sldMk cId="3047865759" sldId="450"/>
            <ac:spMk id="64" creationId="{640D7C13-E5F9-4094-9632-C223D4CB0479}"/>
          </ac:spMkLst>
        </pc:spChg>
        <pc:spChg chg="mod">
          <ac:chgData name="Olars Björn" userId="1c81218a-21ec-413f-8dc1-a8bd0b85f8ba" providerId="ADAL" clId="{23B7052A-A97B-4FF0-9B00-E453F33B9B85}" dt="2022-05-19T13:35:46.356" v="3585"/>
          <ac:spMkLst>
            <pc:docMk/>
            <pc:sldMk cId="3047865759" sldId="450"/>
            <ac:spMk id="65" creationId="{64AB2BC1-DB08-4148-B2A2-DDE513380BB3}"/>
          </ac:spMkLst>
        </pc:spChg>
        <pc:spChg chg="mod">
          <ac:chgData name="Olars Björn" userId="1c81218a-21ec-413f-8dc1-a8bd0b85f8ba" providerId="ADAL" clId="{23B7052A-A97B-4FF0-9B00-E453F33B9B85}" dt="2022-05-19T13:35:46.356" v="3585"/>
          <ac:spMkLst>
            <pc:docMk/>
            <pc:sldMk cId="3047865759" sldId="450"/>
            <ac:spMk id="66" creationId="{BA7EC856-0E60-4B5F-BF70-F47200B9E2E7}"/>
          </ac:spMkLst>
        </pc:spChg>
        <pc:spChg chg="mod">
          <ac:chgData name="Olars Björn" userId="1c81218a-21ec-413f-8dc1-a8bd0b85f8ba" providerId="ADAL" clId="{23B7052A-A97B-4FF0-9B00-E453F33B9B85}" dt="2022-05-19T13:35:46.356" v="3585"/>
          <ac:spMkLst>
            <pc:docMk/>
            <pc:sldMk cId="3047865759" sldId="450"/>
            <ac:spMk id="68" creationId="{3BC328E0-7090-40C7-AACB-9CA28A316B19}"/>
          </ac:spMkLst>
        </pc:spChg>
        <pc:spChg chg="mod">
          <ac:chgData name="Olars Björn" userId="1c81218a-21ec-413f-8dc1-a8bd0b85f8ba" providerId="ADAL" clId="{23B7052A-A97B-4FF0-9B00-E453F33B9B85}" dt="2022-05-19T13:35:46.356" v="3585"/>
          <ac:spMkLst>
            <pc:docMk/>
            <pc:sldMk cId="3047865759" sldId="450"/>
            <ac:spMk id="69" creationId="{3DB8DF73-D18C-4911-B7A5-1CE1C48F07B7}"/>
          </ac:spMkLst>
        </pc:spChg>
        <pc:spChg chg="mod">
          <ac:chgData name="Olars Björn" userId="1c81218a-21ec-413f-8dc1-a8bd0b85f8ba" providerId="ADAL" clId="{23B7052A-A97B-4FF0-9B00-E453F33B9B85}" dt="2022-05-19T13:35:46.356" v="3585"/>
          <ac:spMkLst>
            <pc:docMk/>
            <pc:sldMk cId="3047865759" sldId="450"/>
            <ac:spMk id="70" creationId="{CE1C90DA-9FED-49B9-8499-857E0B082845}"/>
          </ac:spMkLst>
        </pc:spChg>
        <pc:spChg chg="mod">
          <ac:chgData name="Olars Björn" userId="1c81218a-21ec-413f-8dc1-a8bd0b85f8ba" providerId="ADAL" clId="{23B7052A-A97B-4FF0-9B00-E453F33B9B85}" dt="2022-05-19T13:35:46.356" v="3585"/>
          <ac:spMkLst>
            <pc:docMk/>
            <pc:sldMk cId="3047865759" sldId="450"/>
            <ac:spMk id="71" creationId="{832627CB-7E05-416A-9E63-C93C5E66406B}"/>
          </ac:spMkLst>
        </pc:spChg>
        <pc:spChg chg="mod">
          <ac:chgData name="Olars Björn" userId="1c81218a-21ec-413f-8dc1-a8bd0b85f8ba" providerId="ADAL" clId="{23B7052A-A97B-4FF0-9B00-E453F33B9B85}" dt="2022-05-19T13:35:46.356" v="3585"/>
          <ac:spMkLst>
            <pc:docMk/>
            <pc:sldMk cId="3047865759" sldId="450"/>
            <ac:spMk id="73" creationId="{6E0450DC-BB1C-4D4A-A755-83B79E826FEA}"/>
          </ac:spMkLst>
        </pc:spChg>
        <pc:spChg chg="mod">
          <ac:chgData name="Olars Björn" userId="1c81218a-21ec-413f-8dc1-a8bd0b85f8ba" providerId="ADAL" clId="{23B7052A-A97B-4FF0-9B00-E453F33B9B85}" dt="2022-05-19T13:35:46.356" v="3585"/>
          <ac:spMkLst>
            <pc:docMk/>
            <pc:sldMk cId="3047865759" sldId="450"/>
            <ac:spMk id="74" creationId="{79EFB9ED-A36D-470C-9A72-E4CB4C6AFB1B}"/>
          </ac:spMkLst>
        </pc:spChg>
        <pc:spChg chg="mod">
          <ac:chgData name="Olars Björn" userId="1c81218a-21ec-413f-8dc1-a8bd0b85f8ba" providerId="ADAL" clId="{23B7052A-A97B-4FF0-9B00-E453F33B9B85}" dt="2022-05-19T13:35:46.356" v="3585"/>
          <ac:spMkLst>
            <pc:docMk/>
            <pc:sldMk cId="3047865759" sldId="450"/>
            <ac:spMk id="75" creationId="{14B78E22-A125-4B91-AED7-26FAA50DA7AE}"/>
          </ac:spMkLst>
        </pc:spChg>
        <pc:spChg chg="mod">
          <ac:chgData name="Olars Björn" userId="1c81218a-21ec-413f-8dc1-a8bd0b85f8ba" providerId="ADAL" clId="{23B7052A-A97B-4FF0-9B00-E453F33B9B85}" dt="2022-05-19T13:35:46.356" v="3585"/>
          <ac:spMkLst>
            <pc:docMk/>
            <pc:sldMk cId="3047865759" sldId="450"/>
            <ac:spMk id="76" creationId="{7F256574-09A9-443D-9AC5-60902BB77435}"/>
          </ac:spMkLst>
        </pc:spChg>
        <pc:spChg chg="mod">
          <ac:chgData name="Olars Björn" userId="1c81218a-21ec-413f-8dc1-a8bd0b85f8ba" providerId="ADAL" clId="{23B7052A-A97B-4FF0-9B00-E453F33B9B85}" dt="2022-05-19T13:35:46.356" v="3585"/>
          <ac:spMkLst>
            <pc:docMk/>
            <pc:sldMk cId="3047865759" sldId="450"/>
            <ac:spMk id="78" creationId="{1325C9BA-0BA2-4F4C-848D-ADE228CA6B3D}"/>
          </ac:spMkLst>
        </pc:spChg>
        <pc:spChg chg="mod">
          <ac:chgData name="Olars Björn" userId="1c81218a-21ec-413f-8dc1-a8bd0b85f8ba" providerId="ADAL" clId="{23B7052A-A97B-4FF0-9B00-E453F33B9B85}" dt="2022-05-19T13:35:46.356" v="3585"/>
          <ac:spMkLst>
            <pc:docMk/>
            <pc:sldMk cId="3047865759" sldId="450"/>
            <ac:spMk id="79" creationId="{091E8633-7143-434C-8F7F-9B25A8FF1A1E}"/>
          </ac:spMkLst>
        </pc:spChg>
        <pc:spChg chg="mod">
          <ac:chgData name="Olars Björn" userId="1c81218a-21ec-413f-8dc1-a8bd0b85f8ba" providerId="ADAL" clId="{23B7052A-A97B-4FF0-9B00-E453F33B9B85}" dt="2022-05-19T13:35:46.356" v="3585"/>
          <ac:spMkLst>
            <pc:docMk/>
            <pc:sldMk cId="3047865759" sldId="450"/>
            <ac:spMk id="80" creationId="{C2EA5378-93A9-4EAB-B992-EB79D3FE660F}"/>
          </ac:spMkLst>
        </pc:spChg>
        <pc:spChg chg="mod">
          <ac:chgData name="Olars Björn" userId="1c81218a-21ec-413f-8dc1-a8bd0b85f8ba" providerId="ADAL" clId="{23B7052A-A97B-4FF0-9B00-E453F33B9B85}" dt="2022-05-19T13:35:46.356" v="3585"/>
          <ac:spMkLst>
            <pc:docMk/>
            <pc:sldMk cId="3047865759" sldId="450"/>
            <ac:spMk id="81" creationId="{8EFEE6C2-A01C-4E6A-A598-9C6F8B07BAFC}"/>
          </ac:spMkLst>
        </pc:spChg>
        <pc:spChg chg="mod">
          <ac:chgData name="Olars Björn" userId="1c81218a-21ec-413f-8dc1-a8bd0b85f8ba" providerId="ADAL" clId="{23B7052A-A97B-4FF0-9B00-E453F33B9B85}" dt="2022-05-19T13:35:46.356" v="3585"/>
          <ac:spMkLst>
            <pc:docMk/>
            <pc:sldMk cId="3047865759" sldId="450"/>
            <ac:spMk id="83" creationId="{13C4301D-F577-4897-9859-3D1A5B70EF08}"/>
          </ac:spMkLst>
        </pc:spChg>
        <pc:spChg chg="mod">
          <ac:chgData name="Olars Björn" userId="1c81218a-21ec-413f-8dc1-a8bd0b85f8ba" providerId="ADAL" clId="{23B7052A-A97B-4FF0-9B00-E453F33B9B85}" dt="2022-05-19T13:35:46.356" v="3585"/>
          <ac:spMkLst>
            <pc:docMk/>
            <pc:sldMk cId="3047865759" sldId="450"/>
            <ac:spMk id="84" creationId="{8E333FF3-4859-4AC8-8FE8-C8F815466F4E}"/>
          </ac:spMkLst>
        </pc:spChg>
        <pc:spChg chg="mod">
          <ac:chgData name="Olars Björn" userId="1c81218a-21ec-413f-8dc1-a8bd0b85f8ba" providerId="ADAL" clId="{23B7052A-A97B-4FF0-9B00-E453F33B9B85}" dt="2022-05-19T13:35:46.356" v="3585"/>
          <ac:spMkLst>
            <pc:docMk/>
            <pc:sldMk cId="3047865759" sldId="450"/>
            <ac:spMk id="85" creationId="{D68D23F6-BE33-4203-BD19-ABE397149DDE}"/>
          </ac:spMkLst>
        </pc:spChg>
        <pc:spChg chg="mod">
          <ac:chgData name="Olars Björn" userId="1c81218a-21ec-413f-8dc1-a8bd0b85f8ba" providerId="ADAL" clId="{23B7052A-A97B-4FF0-9B00-E453F33B9B85}" dt="2022-05-19T13:35:46.356" v="3585"/>
          <ac:spMkLst>
            <pc:docMk/>
            <pc:sldMk cId="3047865759" sldId="450"/>
            <ac:spMk id="86" creationId="{C3023E2F-53CF-4E81-A5D1-143A4B4C36E2}"/>
          </ac:spMkLst>
        </pc:spChg>
        <pc:spChg chg="mod">
          <ac:chgData name="Olars Björn" userId="1c81218a-21ec-413f-8dc1-a8bd0b85f8ba" providerId="ADAL" clId="{23B7052A-A97B-4FF0-9B00-E453F33B9B85}" dt="2022-05-19T13:35:46.356" v="3585"/>
          <ac:spMkLst>
            <pc:docMk/>
            <pc:sldMk cId="3047865759" sldId="450"/>
            <ac:spMk id="88" creationId="{2BE6EF26-D11A-4D3D-96D2-D89E94BDC6B9}"/>
          </ac:spMkLst>
        </pc:spChg>
        <pc:spChg chg="mod">
          <ac:chgData name="Olars Björn" userId="1c81218a-21ec-413f-8dc1-a8bd0b85f8ba" providerId="ADAL" clId="{23B7052A-A97B-4FF0-9B00-E453F33B9B85}" dt="2022-05-19T13:35:46.356" v="3585"/>
          <ac:spMkLst>
            <pc:docMk/>
            <pc:sldMk cId="3047865759" sldId="450"/>
            <ac:spMk id="89" creationId="{40BA2E83-5504-4584-9774-6176E8B61EF6}"/>
          </ac:spMkLst>
        </pc:spChg>
        <pc:spChg chg="mod">
          <ac:chgData name="Olars Björn" userId="1c81218a-21ec-413f-8dc1-a8bd0b85f8ba" providerId="ADAL" clId="{23B7052A-A97B-4FF0-9B00-E453F33B9B85}" dt="2022-05-19T13:35:46.356" v="3585"/>
          <ac:spMkLst>
            <pc:docMk/>
            <pc:sldMk cId="3047865759" sldId="450"/>
            <ac:spMk id="90" creationId="{69E9C418-C845-4784-968C-989DDD0F0D20}"/>
          </ac:spMkLst>
        </pc:spChg>
        <pc:spChg chg="mod">
          <ac:chgData name="Olars Björn" userId="1c81218a-21ec-413f-8dc1-a8bd0b85f8ba" providerId="ADAL" clId="{23B7052A-A97B-4FF0-9B00-E453F33B9B85}" dt="2022-05-19T13:35:46.356" v="3585"/>
          <ac:spMkLst>
            <pc:docMk/>
            <pc:sldMk cId="3047865759" sldId="450"/>
            <ac:spMk id="91" creationId="{6D31B11F-C23D-498B-97C7-F65B85940C3E}"/>
          </ac:spMkLst>
        </pc:spChg>
        <pc:spChg chg="mod">
          <ac:chgData name="Olars Björn" userId="1c81218a-21ec-413f-8dc1-a8bd0b85f8ba" providerId="ADAL" clId="{23B7052A-A97B-4FF0-9B00-E453F33B9B85}" dt="2022-05-19T13:35:46.356" v="3585"/>
          <ac:spMkLst>
            <pc:docMk/>
            <pc:sldMk cId="3047865759" sldId="450"/>
            <ac:spMk id="93" creationId="{1E030A57-E6A2-4CD2-B205-2650D2687ADE}"/>
          </ac:spMkLst>
        </pc:spChg>
        <pc:spChg chg="mod">
          <ac:chgData name="Olars Björn" userId="1c81218a-21ec-413f-8dc1-a8bd0b85f8ba" providerId="ADAL" clId="{23B7052A-A97B-4FF0-9B00-E453F33B9B85}" dt="2022-05-19T13:35:46.356" v="3585"/>
          <ac:spMkLst>
            <pc:docMk/>
            <pc:sldMk cId="3047865759" sldId="450"/>
            <ac:spMk id="94" creationId="{0001280D-70BE-4DDB-9B23-82B7801C07D8}"/>
          </ac:spMkLst>
        </pc:spChg>
        <pc:spChg chg="mod">
          <ac:chgData name="Olars Björn" userId="1c81218a-21ec-413f-8dc1-a8bd0b85f8ba" providerId="ADAL" clId="{23B7052A-A97B-4FF0-9B00-E453F33B9B85}" dt="2022-05-19T13:35:46.356" v="3585"/>
          <ac:spMkLst>
            <pc:docMk/>
            <pc:sldMk cId="3047865759" sldId="450"/>
            <ac:spMk id="95" creationId="{7D08FDC0-36F2-4EE3-9D97-14A40B3258F1}"/>
          </ac:spMkLst>
        </pc:spChg>
        <pc:spChg chg="mod">
          <ac:chgData name="Olars Björn" userId="1c81218a-21ec-413f-8dc1-a8bd0b85f8ba" providerId="ADAL" clId="{23B7052A-A97B-4FF0-9B00-E453F33B9B85}" dt="2022-05-19T13:35:46.356" v="3585"/>
          <ac:spMkLst>
            <pc:docMk/>
            <pc:sldMk cId="3047865759" sldId="450"/>
            <ac:spMk id="96" creationId="{FA7B6F4A-CDA1-4C61-BF53-BEE95179942D}"/>
          </ac:spMkLst>
        </pc:spChg>
        <pc:spChg chg="mod">
          <ac:chgData name="Olars Björn" userId="1c81218a-21ec-413f-8dc1-a8bd0b85f8ba" providerId="ADAL" clId="{23B7052A-A97B-4FF0-9B00-E453F33B9B85}" dt="2022-05-19T13:35:46.356" v="3585"/>
          <ac:spMkLst>
            <pc:docMk/>
            <pc:sldMk cId="3047865759" sldId="450"/>
            <ac:spMk id="98" creationId="{086CE5E4-D3D5-49BB-AE89-85BBA05B7114}"/>
          </ac:spMkLst>
        </pc:spChg>
        <pc:spChg chg="mod">
          <ac:chgData name="Olars Björn" userId="1c81218a-21ec-413f-8dc1-a8bd0b85f8ba" providerId="ADAL" clId="{23B7052A-A97B-4FF0-9B00-E453F33B9B85}" dt="2022-05-19T13:35:46.356" v="3585"/>
          <ac:spMkLst>
            <pc:docMk/>
            <pc:sldMk cId="3047865759" sldId="450"/>
            <ac:spMk id="99" creationId="{F2ED2C41-6A08-4526-B182-1D198B676766}"/>
          </ac:spMkLst>
        </pc:spChg>
        <pc:spChg chg="mod">
          <ac:chgData name="Olars Björn" userId="1c81218a-21ec-413f-8dc1-a8bd0b85f8ba" providerId="ADAL" clId="{23B7052A-A97B-4FF0-9B00-E453F33B9B85}" dt="2022-05-19T13:35:46.356" v="3585"/>
          <ac:spMkLst>
            <pc:docMk/>
            <pc:sldMk cId="3047865759" sldId="450"/>
            <ac:spMk id="100" creationId="{4395816E-70C5-4543-BBFD-28AAEC0BBAE0}"/>
          </ac:spMkLst>
        </pc:spChg>
        <pc:spChg chg="mod">
          <ac:chgData name="Olars Björn" userId="1c81218a-21ec-413f-8dc1-a8bd0b85f8ba" providerId="ADAL" clId="{23B7052A-A97B-4FF0-9B00-E453F33B9B85}" dt="2022-05-19T13:35:46.356" v="3585"/>
          <ac:spMkLst>
            <pc:docMk/>
            <pc:sldMk cId="3047865759" sldId="450"/>
            <ac:spMk id="101" creationId="{D0358D8F-05C7-45FE-B135-194CEF318D34}"/>
          </ac:spMkLst>
        </pc:spChg>
        <pc:spChg chg="mod">
          <ac:chgData name="Olars Björn" userId="1c81218a-21ec-413f-8dc1-a8bd0b85f8ba" providerId="ADAL" clId="{23B7052A-A97B-4FF0-9B00-E453F33B9B85}" dt="2022-05-19T13:35:46.356" v="3585"/>
          <ac:spMkLst>
            <pc:docMk/>
            <pc:sldMk cId="3047865759" sldId="450"/>
            <ac:spMk id="103" creationId="{97A1DDA3-8021-448A-B6FA-B9E423A8ADF7}"/>
          </ac:spMkLst>
        </pc:spChg>
        <pc:spChg chg="mod">
          <ac:chgData name="Olars Björn" userId="1c81218a-21ec-413f-8dc1-a8bd0b85f8ba" providerId="ADAL" clId="{23B7052A-A97B-4FF0-9B00-E453F33B9B85}" dt="2022-05-19T13:35:46.356" v="3585"/>
          <ac:spMkLst>
            <pc:docMk/>
            <pc:sldMk cId="3047865759" sldId="450"/>
            <ac:spMk id="104" creationId="{BEF6277C-03EE-47E9-8470-14014EACE6AC}"/>
          </ac:spMkLst>
        </pc:spChg>
        <pc:spChg chg="mod">
          <ac:chgData name="Olars Björn" userId="1c81218a-21ec-413f-8dc1-a8bd0b85f8ba" providerId="ADAL" clId="{23B7052A-A97B-4FF0-9B00-E453F33B9B85}" dt="2022-05-19T13:35:46.356" v="3585"/>
          <ac:spMkLst>
            <pc:docMk/>
            <pc:sldMk cId="3047865759" sldId="450"/>
            <ac:spMk id="105" creationId="{F23AA44D-5BB1-4646-8819-35547DC61CBB}"/>
          </ac:spMkLst>
        </pc:spChg>
        <pc:spChg chg="mod">
          <ac:chgData name="Olars Björn" userId="1c81218a-21ec-413f-8dc1-a8bd0b85f8ba" providerId="ADAL" clId="{23B7052A-A97B-4FF0-9B00-E453F33B9B85}" dt="2022-05-19T13:35:46.356" v="3585"/>
          <ac:spMkLst>
            <pc:docMk/>
            <pc:sldMk cId="3047865759" sldId="450"/>
            <ac:spMk id="106" creationId="{842064CE-3376-4C00-8883-6930851ED473}"/>
          </ac:spMkLst>
        </pc:spChg>
        <pc:spChg chg="mod">
          <ac:chgData name="Olars Björn" userId="1c81218a-21ec-413f-8dc1-a8bd0b85f8ba" providerId="ADAL" clId="{23B7052A-A97B-4FF0-9B00-E453F33B9B85}" dt="2022-05-19T13:35:46.356" v="3585"/>
          <ac:spMkLst>
            <pc:docMk/>
            <pc:sldMk cId="3047865759" sldId="450"/>
            <ac:spMk id="108" creationId="{E31285E6-6B91-440F-B277-C6429C4A6A19}"/>
          </ac:spMkLst>
        </pc:spChg>
        <pc:spChg chg="mod">
          <ac:chgData name="Olars Björn" userId="1c81218a-21ec-413f-8dc1-a8bd0b85f8ba" providerId="ADAL" clId="{23B7052A-A97B-4FF0-9B00-E453F33B9B85}" dt="2022-05-19T13:35:46.356" v="3585"/>
          <ac:spMkLst>
            <pc:docMk/>
            <pc:sldMk cId="3047865759" sldId="450"/>
            <ac:spMk id="109" creationId="{C2F5BB8F-7E52-450E-9D99-99C0CB6219A7}"/>
          </ac:spMkLst>
        </pc:spChg>
        <pc:spChg chg="mod">
          <ac:chgData name="Olars Björn" userId="1c81218a-21ec-413f-8dc1-a8bd0b85f8ba" providerId="ADAL" clId="{23B7052A-A97B-4FF0-9B00-E453F33B9B85}" dt="2022-05-19T13:35:46.356" v="3585"/>
          <ac:spMkLst>
            <pc:docMk/>
            <pc:sldMk cId="3047865759" sldId="450"/>
            <ac:spMk id="110" creationId="{F592D968-4603-48E7-93C5-CF547D64A592}"/>
          </ac:spMkLst>
        </pc:spChg>
        <pc:spChg chg="mod">
          <ac:chgData name="Olars Björn" userId="1c81218a-21ec-413f-8dc1-a8bd0b85f8ba" providerId="ADAL" clId="{23B7052A-A97B-4FF0-9B00-E453F33B9B85}" dt="2022-05-19T13:35:46.356" v="3585"/>
          <ac:spMkLst>
            <pc:docMk/>
            <pc:sldMk cId="3047865759" sldId="450"/>
            <ac:spMk id="111" creationId="{1437C296-8921-4BCF-B929-D5F1618CF989}"/>
          </ac:spMkLst>
        </pc:spChg>
        <pc:spChg chg="mod">
          <ac:chgData name="Olars Björn" userId="1c81218a-21ec-413f-8dc1-a8bd0b85f8ba" providerId="ADAL" clId="{23B7052A-A97B-4FF0-9B00-E453F33B9B85}" dt="2022-05-19T13:35:46.356" v="3585"/>
          <ac:spMkLst>
            <pc:docMk/>
            <pc:sldMk cId="3047865759" sldId="450"/>
            <ac:spMk id="113" creationId="{17DEB4EC-1018-40AA-BB53-DE5C2C5D9F8C}"/>
          </ac:spMkLst>
        </pc:spChg>
        <pc:spChg chg="mod">
          <ac:chgData name="Olars Björn" userId="1c81218a-21ec-413f-8dc1-a8bd0b85f8ba" providerId="ADAL" clId="{23B7052A-A97B-4FF0-9B00-E453F33B9B85}" dt="2022-05-19T13:35:46.356" v="3585"/>
          <ac:spMkLst>
            <pc:docMk/>
            <pc:sldMk cId="3047865759" sldId="450"/>
            <ac:spMk id="114" creationId="{E54A2103-CD9E-49CB-9565-B995103115F3}"/>
          </ac:spMkLst>
        </pc:spChg>
        <pc:spChg chg="mod">
          <ac:chgData name="Olars Björn" userId="1c81218a-21ec-413f-8dc1-a8bd0b85f8ba" providerId="ADAL" clId="{23B7052A-A97B-4FF0-9B00-E453F33B9B85}" dt="2022-05-19T13:35:46.356" v="3585"/>
          <ac:spMkLst>
            <pc:docMk/>
            <pc:sldMk cId="3047865759" sldId="450"/>
            <ac:spMk id="115" creationId="{4CC9318B-F8C2-4F6B-8097-30845F283B29}"/>
          </ac:spMkLst>
        </pc:spChg>
        <pc:spChg chg="mod">
          <ac:chgData name="Olars Björn" userId="1c81218a-21ec-413f-8dc1-a8bd0b85f8ba" providerId="ADAL" clId="{23B7052A-A97B-4FF0-9B00-E453F33B9B85}" dt="2022-05-19T13:35:46.356" v="3585"/>
          <ac:spMkLst>
            <pc:docMk/>
            <pc:sldMk cId="3047865759" sldId="450"/>
            <ac:spMk id="116" creationId="{DFD89AB9-51D3-4A1C-8EC9-48E627FCFB3E}"/>
          </ac:spMkLst>
        </pc:spChg>
        <pc:spChg chg="mod">
          <ac:chgData name="Olars Björn" userId="1c81218a-21ec-413f-8dc1-a8bd0b85f8ba" providerId="ADAL" clId="{23B7052A-A97B-4FF0-9B00-E453F33B9B85}" dt="2022-05-19T13:35:46.356" v="3585"/>
          <ac:spMkLst>
            <pc:docMk/>
            <pc:sldMk cId="3047865759" sldId="450"/>
            <ac:spMk id="118" creationId="{6C601C8D-D42F-44BA-BBEA-986E897E524B}"/>
          </ac:spMkLst>
        </pc:spChg>
        <pc:spChg chg="mod">
          <ac:chgData name="Olars Björn" userId="1c81218a-21ec-413f-8dc1-a8bd0b85f8ba" providerId="ADAL" clId="{23B7052A-A97B-4FF0-9B00-E453F33B9B85}" dt="2022-05-19T13:35:46.356" v="3585"/>
          <ac:spMkLst>
            <pc:docMk/>
            <pc:sldMk cId="3047865759" sldId="450"/>
            <ac:spMk id="119" creationId="{4B6EFAEF-DE27-4D5B-B390-D8A07B8E3773}"/>
          </ac:spMkLst>
        </pc:spChg>
        <pc:spChg chg="mod">
          <ac:chgData name="Olars Björn" userId="1c81218a-21ec-413f-8dc1-a8bd0b85f8ba" providerId="ADAL" clId="{23B7052A-A97B-4FF0-9B00-E453F33B9B85}" dt="2022-05-19T13:35:46.356" v="3585"/>
          <ac:spMkLst>
            <pc:docMk/>
            <pc:sldMk cId="3047865759" sldId="450"/>
            <ac:spMk id="120" creationId="{4106AD0D-8DBD-40DE-B1FB-943267F4A21A}"/>
          </ac:spMkLst>
        </pc:spChg>
        <pc:spChg chg="mod">
          <ac:chgData name="Olars Björn" userId="1c81218a-21ec-413f-8dc1-a8bd0b85f8ba" providerId="ADAL" clId="{23B7052A-A97B-4FF0-9B00-E453F33B9B85}" dt="2022-05-19T13:35:46.356" v="3585"/>
          <ac:spMkLst>
            <pc:docMk/>
            <pc:sldMk cId="3047865759" sldId="450"/>
            <ac:spMk id="121" creationId="{4650EAA0-9D70-4AA8-8058-CADB1650DAA1}"/>
          </ac:spMkLst>
        </pc:spChg>
        <pc:spChg chg="mod">
          <ac:chgData name="Olars Björn" userId="1c81218a-21ec-413f-8dc1-a8bd0b85f8ba" providerId="ADAL" clId="{23B7052A-A97B-4FF0-9B00-E453F33B9B85}" dt="2022-05-19T13:35:46.356" v="3585"/>
          <ac:spMkLst>
            <pc:docMk/>
            <pc:sldMk cId="3047865759" sldId="450"/>
            <ac:spMk id="123" creationId="{499DAEFA-F4FC-4C10-9F1F-A03ECB2772E0}"/>
          </ac:spMkLst>
        </pc:spChg>
        <pc:spChg chg="mod">
          <ac:chgData name="Olars Björn" userId="1c81218a-21ec-413f-8dc1-a8bd0b85f8ba" providerId="ADAL" clId="{23B7052A-A97B-4FF0-9B00-E453F33B9B85}" dt="2022-05-19T13:35:46.356" v="3585"/>
          <ac:spMkLst>
            <pc:docMk/>
            <pc:sldMk cId="3047865759" sldId="450"/>
            <ac:spMk id="124" creationId="{AE714A13-3DD3-4BAE-AF18-1B282BEAD6DC}"/>
          </ac:spMkLst>
        </pc:spChg>
        <pc:spChg chg="mod">
          <ac:chgData name="Olars Björn" userId="1c81218a-21ec-413f-8dc1-a8bd0b85f8ba" providerId="ADAL" clId="{23B7052A-A97B-4FF0-9B00-E453F33B9B85}" dt="2022-05-19T13:35:46.356" v="3585"/>
          <ac:spMkLst>
            <pc:docMk/>
            <pc:sldMk cId="3047865759" sldId="450"/>
            <ac:spMk id="125" creationId="{6B319B41-9967-47E3-90BA-3790A340B984}"/>
          </ac:spMkLst>
        </pc:spChg>
        <pc:spChg chg="mod">
          <ac:chgData name="Olars Björn" userId="1c81218a-21ec-413f-8dc1-a8bd0b85f8ba" providerId="ADAL" clId="{23B7052A-A97B-4FF0-9B00-E453F33B9B85}" dt="2022-05-19T13:35:46.356" v="3585"/>
          <ac:spMkLst>
            <pc:docMk/>
            <pc:sldMk cId="3047865759" sldId="450"/>
            <ac:spMk id="126" creationId="{217A80BF-96E8-40F4-B932-A7153F0BB005}"/>
          </ac:spMkLst>
        </pc:spChg>
        <pc:spChg chg="mod">
          <ac:chgData name="Olars Björn" userId="1c81218a-21ec-413f-8dc1-a8bd0b85f8ba" providerId="ADAL" clId="{23B7052A-A97B-4FF0-9B00-E453F33B9B85}" dt="2022-05-19T13:35:46.356" v="3585"/>
          <ac:spMkLst>
            <pc:docMk/>
            <pc:sldMk cId="3047865759" sldId="450"/>
            <ac:spMk id="128" creationId="{426AA090-7405-4382-BFCE-B82630406AC9}"/>
          </ac:spMkLst>
        </pc:spChg>
        <pc:spChg chg="mod">
          <ac:chgData name="Olars Björn" userId="1c81218a-21ec-413f-8dc1-a8bd0b85f8ba" providerId="ADAL" clId="{23B7052A-A97B-4FF0-9B00-E453F33B9B85}" dt="2022-05-19T13:35:46.356" v="3585"/>
          <ac:spMkLst>
            <pc:docMk/>
            <pc:sldMk cId="3047865759" sldId="450"/>
            <ac:spMk id="129" creationId="{BA30A068-76BE-427D-847C-BD02979D06F8}"/>
          </ac:spMkLst>
        </pc:spChg>
        <pc:spChg chg="mod">
          <ac:chgData name="Olars Björn" userId="1c81218a-21ec-413f-8dc1-a8bd0b85f8ba" providerId="ADAL" clId="{23B7052A-A97B-4FF0-9B00-E453F33B9B85}" dt="2022-05-19T13:35:46.356" v="3585"/>
          <ac:spMkLst>
            <pc:docMk/>
            <pc:sldMk cId="3047865759" sldId="450"/>
            <ac:spMk id="130" creationId="{3D35F084-132F-46E2-9C53-3840D8F7D68D}"/>
          </ac:spMkLst>
        </pc:spChg>
        <pc:spChg chg="mod">
          <ac:chgData name="Olars Björn" userId="1c81218a-21ec-413f-8dc1-a8bd0b85f8ba" providerId="ADAL" clId="{23B7052A-A97B-4FF0-9B00-E453F33B9B85}" dt="2022-05-19T13:35:46.356" v="3585"/>
          <ac:spMkLst>
            <pc:docMk/>
            <pc:sldMk cId="3047865759" sldId="450"/>
            <ac:spMk id="131" creationId="{94BD74F4-F73A-4349-94D7-BF55B5C85E9C}"/>
          </ac:spMkLst>
        </pc:spChg>
        <pc:spChg chg="mod">
          <ac:chgData name="Olars Björn" userId="1c81218a-21ec-413f-8dc1-a8bd0b85f8ba" providerId="ADAL" clId="{23B7052A-A97B-4FF0-9B00-E453F33B9B85}" dt="2022-05-19T13:35:46.356" v="3585"/>
          <ac:spMkLst>
            <pc:docMk/>
            <pc:sldMk cId="3047865759" sldId="450"/>
            <ac:spMk id="133" creationId="{F07D42A1-30F9-4A51-8BFE-C545F1171EA1}"/>
          </ac:spMkLst>
        </pc:spChg>
        <pc:spChg chg="mod">
          <ac:chgData name="Olars Björn" userId="1c81218a-21ec-413f-8dc1-a8bd0b85f8ba" providerId="ADAL" clId="{23B7052A-A97B-4FF0-9B00-E453F33B9B85}" dt="2022-05-19T13:35:46.356" v="3585"/>
          <ac:spMkLst>
            <pc:docMk/>
            <pc:sldMk cId="3047865759" sldId="450"/>
            <ac:spMk id="134" creationId="{E13523F5-7BDF-4F7B-AE15-369BD8971C2A}"/>
          </ac:spMkLst>
        </pc:spChg>
        <pc:spChg chg="mod">
          <ac:chgData name="Olars Björn" userId="1c81218a-21ec-413f-8dc1-a8bd0b85f8ba" providerId="ADAL" clId="{23B7052A-A97B-4FF0-9B00-E453F33B9B85}" dt="2022-05-19T13:35:46.356" v="3585"/>
          <ac:spMkLst>
            <pc:docMk/>
            <pc:sldMk cId="3047865759" sldId="450"/>
            <ac:spMk id="135" creationId="{8F0A66F3-2D38-41E2-A9CB-7B208001CFAF}"/>
          </ac:spMkLst>
        </pc:spChg>
        <pc:spChg chg="mod">
          <ac:chgData name="Olars Björn" userId="1c81218a-21ec-413f-8dc1-a8bd0b85f8ba" providerId="ADAL" clId="{23B7052A-A97B-4FF0-9B00-E453F33B9B85}" dt="2022-05-19T13:35:46.356" v="3585"/>
          <ac:spMkLst>
            <pc:docMk/>
            <pc:sldMk cId="3047865759" sldId="450"/>
            <ac:spMk id="136" creationId="{D43C918A-843B-414A-A506-E4F8B925D0F4}"/>
          </ac:spMkLst>
        </pc:spChg>
        <pc:spChg chg="mod">
          <ac:chgData name="Olars Björn" userId="1c81218a-21ec-413f-8dc1-a8bd0b85f8ba" providerId="ADAL" clId="{23B7052A-A97B-4FF0-9B00-E453F33B9B85}" dt="2022-05-19T13:35:46.356" v="3585"/>
          <ac:spMkLst>
            <pc:docMk/>
            <pc:sldMk cId="3047865759" sldId="450"/>
            <ac:spMk id="138" creationId="{5F9E9DE5-1CAD-4CB2-BA5A-7C2F3C157AAA}"/>
          </ac:spMkLst>
        </pc:spChg>
        <pc:spChg chg="mod">
          <ac:chgData name="Olars Björn" userId="1c81218a-21ec-413f-8dc1-a8bd0b85f8ba" providerId="ADAL" clId="{23B7052A-A97B-4FF0-9B00-E453F33B9B85}" dt="2022-05-19T13:35:46.356" v="3585"/>
          <ac:spMkLst>
            <pc:docMk/>
            <pc:sldMk cId="3047865759" sldId="450"/>
            <ac:spMk id="139" creationId="{E3C3FC70-050B-437F-9C0D-4F7118BF43C5}"/>
          </ac:spMkLst>
        </pc:spChg>
        <pc:spChg chg="mod">
          <ac:chgData name="Olars Björn" userId="1c81218a-21ec-413f-8dc1-a8bd0b85f8ba" providerId="ADAL" clId="{23B7052A-A97B-4FF0-9B00-E453F33B9B85}" dt="2022-05-19T13:35:46.356" v="3585"/>
          <ac:spMkLst>
            <pc:docMk/>
            <pc:sldMk cId="3047865759" sldId="450"/>
            <ac:spMk id="140" creationId="{F37A3711-FC07-4981-BA12-BD0029A0A136}"/>
          </ac:spMkLst>
        </pc:spChg>
        <pc:spChg chg="mod">
          <ac:chgData name="Olars Björn" userId="1c81218a-21ec-413f-8dc1-a8bd0b85f8ba" providerId="ADAL" clId="{23B7052A-A97B-4FF0-9B00-E453F33B9B85}" dt="2022-05-19T13:35:46.356" v="3585"/>
          <ac:spMkLst>
            <pc:docMk/>
            <pc:sldMk cId="3047865759" sldId="450"/>
            <ac:spMk id="141" creationId="{2E739EA0-6A72-4F48-8C5C-961428869E7F}"/>
          </ac:spMkLst>
        </pc:spChg>
        <pc:spChg chg="mod">
          <ac:chgData name="Olars Björn" userId="1c81218a-21ec-413f-8dc1-a8bd0b85f8ba" providerId="ADAL" clId="{23B7052A-A97B-4FF0-9B00-E453F33B9B85}" dt="2022-05-19T13:35:46.356" v="3585"/>
          <ac:spMkLst>
            <pc:docMk/>
            <pc:sldMk cId="3047865759" sldId="450"/>
            <ac:spMk id="143" creationId="{011E64E9-4C48-42C7-84BB-29C58CB1B28B}"/>
          </ac:spMkLst>
        </pc:spChg>
        <pc:spChg chg="mod">
          <ac:chgData name="Olars Björn" userId="1c81218a-21ec-413f-8dc1-a8bd0b85f8ba" providerId="ADAL" clId="{23B7052A-A97B-4FF0-9B00-E453F33B9B85}" dt="2022-05-19T13:35:46.356" v="3585"/>
          <ac:spMkLst>
            <pc:docMk/>
            <pc:sldMk cId="3047865759" sldId="450"/>
            <ac:spMk id="144" creationId="{EB00AA77-7B94-4191-82DF-B69F3EB2610A}"/>
          </ac:spMkLst>
        </pc:spChg>
        <pc:spChg chg="mod">
          <ac:chgData name="Olars Björn" userId="1c81218a-21ec-413f-8dc1-a8bd0b85f8ba" providerId="ADAL" clId="{23B7052A-A97B-4FF0-9B00-E453F33B9B85}" dt="2022-05-19T13:35:46.356" v="3585"/>
          <ac:spMkLst>
            <pc:docMk/>
            <pc:sldMk cId="3047865759" sldId="450"/>
            <ac:spMk id="145" creationId="{A804D509-C550-4E20-9D2C-0B3F707E0B23}"/>
          </ac:spMkLst>
        </pc:spChg>
        <pc:spChg chg="mod">
          <ac:chgData name="Olars Björn" userId="1c81218a-21ec-413f-8dc1-a8bd0b85f8ba" providerId="ADAL" clId="{23B7052A-A97B-4FF0-9B00-E453F33B9B85}" dt="2022-05-19T13:35:46.356" v="3585"/>
          <ac:spMkLst>
            <pc:docMk/>
            <pc:sldMk cId="3047865759" sldId="450"/>
            <ac:spMk id="146" creationId="{2BE35212-95B2-4499-B811-AA908A05706D}"/>
          </ac:spMkLst>
        </pc:spChg>
        <pc:spChg chg="mod">
          <ac:chgData name="Olars Björn" userId="1c81218a-21ec-413f-8dc1-a8bd0b85f8ba" providerId="ADAL" clId="{23B7052A-A97B-4FF0-9B00-E453F33B9B85}" dt="2022-05-19T13:35:46.356" v="3585"/>
          <ac:spMkLst>
            <pc:docMk/>
            <pc:sldMk cId="3047865759" sldId="450"/>
            <ac:spMk id="148" creationId="{2D2669B0-6B11-4D84-B9DD-FE276AF7EE6E}"/>
          </ac:spMkLst>
        </pc:spChg>
        <pc:spChg chg="mod">
          <ac:chgData name="Olars Björn" userId="1c81218a-21ec-413f-8dc1-a8bd0b85f8ba" providerId="ADAL" clId="{23B7052A-A97B-4FF0-9B00-E453F33B9B85}" dt="2022-05-19T13:35:46.356" v="3585"/>
          <ac:spMkLst>
            <pc:docMk/>
            <pc:sldMk cId="3047865759" sldId="450"/>
            <ac:spMk id="149" creationId="{509550AA-08F9-4687-A6EB-B459C13A317B}"/>
          </ac:spMkLst>
        </pc:spChg>
        <pc:spChg chg="mod">
          <ac:chgData name="Olars Björn" userId="1c81218a-21ec-413f-8dc1-a8bd0b85f8ba" providerId="ADAL" clId="{23B7052A-A97B-4FF0-9B00-E453F33B9B85}" dt="2022-05-19T13:35:46.356" v="3585"/>
          <ac:spMkLst>
            <pc:docMk/>
            <pc:sldMk cId="3047865759" sldId="450"/>
            <ac:spMk id="150" creationId="{A04B8802-0E5C-4A5A-840C-823A710089D5}"/>
          </ac:spMkLst>
        </pc:spChg>
        <pc:spChg chg="mod">
          <ac:chgData name="Olars Björn" userId="1c81218a-21ec-413f-8dc1-a8bd0b85f8ba" providerId="ADAL" clId="{23B7052A-A97B-4FF0-9B00-E453F33B9B85}" dt="2022-05-19T13:35:46.356" v="3585"/>
          <ac:spMkLst>
            <pc:docMk/>
            <pc:sldMk cId="3047865759" sldId="450"/>
            <ac:spMk id="151" creationId="{BAE7B988-923C-4E4F-A2FF-38B5F91855A4}"/>
          </ac:spMkLst>
        </pc:spChg>
        <pc:spChg chg="mod">
          <ac:chgData name="Olars Björn" userId="1c81218a-21ec-413f-8dc1-a8bd0b85f8ba" providerId="ADAL" clId="{23B7052A-A97B-4FF0-9B00-E453F33B9B85}" dt="2022-05-19T13:35:46.356" v="3585"/>
          <ac:spMkLst>
            <pc:docMk/>
            <pc:sldMk cId="3047865759" sldId="450"/>
            <ac:spMk id="153" creationId="{EDA70F98-D7D6-450B-84E7-B6309C748F5B}"/>
          </ac:spMkLst>
        </pc:spChg>
        <pc:spChg chg="mod">
          <ac:chgData name="Olars Björn" userId="1c81218a-21ec-413f-8dc1-a8bd0b85f8ba" providerId="ADAL" clId="{23B7052A-A97B-4FF0-9B00-E453F33B9B85}" dt="2022-05-19T13:35:46.356" v="3585"/>
          <ac:spMkLst>
            <pc:docMk/>
            <pc:sldMk cId="3047865759" sldId="450"/>
            <ac:spMk id="154" creationId="{BC41702E-620D-431C-A8F3-10073541B65D}"/>
          </ac:spMkLst>
        </pc:spChg>
        <pc:spChg chg="mod">
          <ac:chgData name="Olars Björn" userId="1c81218a-21ec-413f-8dc1-a8bd0b85f8ba" providerId="ADAL" clId="{23B7052A-A97B-4FF0-9B00-E453F33B9B85}" dt="2022-05-19T13:35:46.356" v="3585"/>
          <ac:spMkLst>
            <pc:docMk/>
            <pc:sldMk cId="3047865759" sldId="450"/>
            <ac:spMk id="155" creationId="{5F3C2C16-1F92-4F1C-B533-1F4E9F511A23}"/>
          </ac:spMkLst>
        </pc:spChg>
        <pc:spChg chg="mod">
          <ac:chgData name="Olars Björn" userId="1c81218a-21ec-413f-8dc1-a8bd0b85f8ba" providerId="ADAL" clId="{23B7052A-A97B-4FF0-9B00-E453F33B9B85}" dt="2022-05-19T13:35:46.356" v="3585"/>
          <ac:spMkLst>
            <pc:docMk/>
            <pc:sldMk cId="3047865759" sldId="450"/>
            <ac:spMk id="156" creationId="{491CAB97-B819-4E9A-B806-490B8F74FE08}"/>
          </ac:spMkLst>
        </pc:spChg>
        <pc:spChg chg="mod">
          <ac:chgData name="Olars Björn" userId="1c81218a-21ec-413f-8dc1-a8bd0b85f8ba" providerId="ADAL" clId="{23B7052A-A97B-4FF0-9B00-E453F33B9B85}" dt="2022-05-19T13:35:46.356" v="3585"/>
          <ac:spMkLst>
            <pc:docMk/>
            <pc:sldMk cId="3047865759" sldId="450"/>
            <ac:spMk id="158" creationId="{5FEB44E5-D780-4671-AF65-817D6102C288}"/>
          </ac:spMkLst>
        </pc:spChg>
        <pc:spChg chg="mod">
          <ac:chgData name="Olars Björn" userId="1c81218a-21ec-413f-8dc1-a8bd0b85f8ba" providerId="ADAL" clId="{23B7052A-A97B-4FF0-9B00-E453F33B9B85}" dt="2022-05-19T13:35:46.356" v="3585"/>
          <ac:spMkLst>
            <pc:docMk/>
            <pc:sldMk cId="3047865759" sldId="450"/>
            <ac:spMk id="159" creationId="{B2A28D74-69E2-49DD-83C5-DFD989311065}"/>
          </ac:spMkLst>
        </pc:spChg>
        <pc:spChg chg="mod">
          <ac:chgData name="Olars Björn" userId="1c81218a-21ec-413f-8dc1-a8bd0b85f8ba" providerId="ADAL" clId="{23B7052A-A97B-4FF0-9B00-E453F33B9B85}" dt="2022-05-19T13:35:46.356" v="3585"/>
          <ac:spMkLst>
            <pc:docMk/>
            <pc:sldMk cId="3047865759" sldId="450"/>
            <ac:spMk id="160" creationId="{CF0A5A2F-9F34-48DA-AC8F-B06E88BFCD6A}"/>
          </ac:spMkLst>
        </pc:spChg>
        <pc:spChg chg="mod">
          <ac:chgData name="Olars Björn" userId="1c81218a-21ec-413f-8dc1-a8bd0b85f8ba" providerId="ADAL" clId="{23B7052A-A97B-4FF0-9B00-E453F33B9B85}" dt="2022-05-19T13:35:46.356" v="3585"/>
          <ac:spMkLst>
            <pc:docMk/>
            <pc:sldMk cId="3047865759" sldId="450"/>
            <ac:spMk id="161" creationId="{364F3DA6-1024-40B0-AA1A-7497115EEDE4}"/>
          </ac:spMkLst>
        </pc:spChg>
        <pc:spChg chg="mod">
          <ac:chgData name="Olars Björn" userId="1c81218a-21ec-413f-8dc1-a8bd0b85f8ba" providerId="ADAL" clId="{23B7052A-A97B-4FF0-9B00-E453F33B9B85}" dt="2022-05-19T13:35:46.356" v="3585"/>
          <ac:spMkLst>
            <pc:docMk/>
            <pc:sldMk cId="3047865759" sldId="450"/>
            <ac:spMk id="163" creationId="{7F759076-F28B-4DB4-B604-A7C01784953D}"/>
          </ac:spMkLst>
        </pc:spChg>
        <pc:spChg chg="mod">
          <ac:chgData name="Olars Björn" userId="1c81218a-21ec-413f-8dc1-a8bd0b85f8ba" providerId="ADAL" clId="{23B7052A-A97B-4FF0-9B00-E453F33B9B85}" dt="2022-05-19T13:35:46.356" v="3585"/>
          <ac:spMkLst>
            <pc:docMk/>
            <pc:sldMk cId="3047865759" sldId="450"/>
            <ac:spMk id="164" creationId="{8B647189-EE34-4B32-A97C-2EEB977C1C5A}"/>
          </ac:spMkLst>
        </pc:spChg>
        <pc:spChg chg="mod">
          <ac:chgData name="Olars Björn" userId="1c81218a-21ec-413f-8dc1-a8bd0b85f8ba" providerId="ADAL" clId="{23B7052A-A97B-4FF0-9B00-E453F33B9B85}" dt="2022-05-19T13:35:46.356" v="3585"/>
          <ac:spMkLst>
            <pc:docMk/>
            <pc:sldMk cId="3047865759" sldId="450"/>
            <ac:spMk id="165" creationId="{3A87995E-B9F8-435F-89A2-B35DE0392967}"/>
          </ac:spMkLst>
        </pc:spChg>
        <pc:spChg chg="mod">
          <ac:chgData name="Olars Björn" userId="1c81218a-21ec-413f-8dc1-a8bd0b85f8ba" providerId="ADAL" clId="{23B7052A-A97B-4FF0-9B00-E453F33B9B85}" dt="2022-05-19T13:35:46.356" v="3585"/>
          <ac:spMkLst>
            <pc:docMk/>
            <pc:sldMk cId="3047865759" sldId="450"/>
            <ac:spMk id="166" creationId="{77F8CE92-4EA1-4688-9140-F5393E257357}"/>
          </ac:spMkLst>
        </pc:spChg>
        <pc:spChg chg="mod">
          <ac:chgData name="Olars Björn" userId="1c81218a-21ec-413f-8dc1-a8bd0b85f8ba" providerId="ADAL" clId="{23B7052A-A97B-4FF0-9B00-E453F33B9B85}" dt="2022-05-19T13:35:46.356" v="3585"/>
          <ac:spMkLst>
            <pc:docMk/>
            <pc:sldMk cId="3047865759" sldId="450"/>
            <ac:spMk id="168" creationId="{5971F961-9F79-48C3-92C7-42D5CB1F943A}"/>
          </ac:spMkLst>
        </pc:spChg>
        <pc:spChg chg="mod">
          <ac:chgData name="Olars Björn" userId="1c81218a-21ec-413f-8dc1-a8bd0b85f8ba" providerId="ADAL" clId="{23B7052A-A97B-4FF0-9B00-E453F33B9B85}" dt="2022-05-19T13:35:46.356" v="3585"/>
          <ac:spMkLst>
            <pc:docMk/>
            <pc:sldMk cId="3047865759" sldId="450"/>
            <ac:spMk id="169" creationId="{65D7370E-0A08-4007-B05F-C88767B7E13A}"/>
          </ac:spMkLst>
        </pc:spChg>
        <pc:spChg chg="mod">
          <ac:chgData name="Olars Björn" userId="1c81218a-21ec-413f-8dc1-a8bd0b85f8ba" providerId="ADAL" clId="{23B7052A-A97B-4FF0-9B00-E453F33B9B85}" dt="2022-05-19T13:35:46.356" v="3585"/>
          <ac:spMkLst>
            <pc:docMk/>
            <pc:sldMk cId="3047865759" sldId="450"/>
            <ac:spMk id="170" creationId="{96A8EAF7-6D34-446B-A527-9D5B23B98830}"/>
          </ac:spMkLst>
        </pc:spChg>
        <pc:spChg chg="mod">
          <ac:chgData name="Olars Björn" userId="1c81218a-21ec-413f-8dc1-a8bd0b85f8ba" providerId="ADAL" clId="{23B7052A-A97B-4FF0-9B00-E453F33B9B85}" dt="2022-05-19T13:35:46.356" v="3585"/>
          <ac:spMkLst>
            <pc:docMk/>
            <pc:sldMk cId="3047865759" sldId="450"/>
            <ac:spMk id="171" creationId="{5E41E80E-0429-4F89-94EF-1A1358E9C94B}"/>
          </ac:spMkLst>
        </pc:spChg>
        <pc:spChg chg="mod">
          <ac:chgData name="Olars Björn" userId="1c81218a-21ec-413f-8dc1-a8bd0b85f8ba" providerId="ADAL" clId="{23B7052A-A97B-4FF0-9B00-E453F33B9B85}" dt="2022-05-19T13:35:46.356" v="3585"/>
          <ac:spMkLst>
            <pc:docMk/>
            <pc:sldMk cId="3047865759" sldId="450"/>
            <ac:spMk id="173" creationId="{F0E18534-8E1B-443F-8D17-A2071B02E1AC}"/>
          </ac:spMkLst>
        </pc:spChg>
        <pc:spChg chg="mod">
          <ac:chgData name="Olars Björn" userId="1c81218a-21ec-413f-8dc1-a8bd0b85f8ba" providerId="ADAL" clId="{23B7052A-A97B-4FF0-9B00-E453F33B9B85}" dt="2022-05-19T13:35:46.356" v="3585"/>
          <ac:spMkLst>
            <pc:docMk/>
            <pc:sldMk cId="3047865759" sldId="450"/>
            <ac:spMk id="174" creationId="{600F1358-509B-4585-B8E6-1DCACCA48C12}"/>
          </ac:spMkLst>
        </pc:spChg>
        <pc:spChg chg="mod">
          <ac:chgData name="Olars Björn" userId="1c81218a-21ec-413f-8dc1-a8bd0b85f8ba" providerId="ADAL" clId="{23B7052A-A97B-4FF0-9B00-E453F33B9B85}" dt="2022-05-19T13:35:46.356" v="3585"/>
          <ac:spMkLst>
            <pc:docMk/>
            <pc:sldMk cId="3047865759" sldId="450"/>
            <ac:spMk id="175" creationId="{A978658D-204A-4F0B-BE4C-5ABF574EDE1B}"/>
          </ac:spMkLst>
        </pc:spChg>
        <pc:spChg chg="mod">
          <ac:chgData name="Olars Björn" userId="1c81218a-21ec-413f-8dc1-a8bd0b85f8ba" providerId="ADAL" clId="{23B7052A-A97B-4FF0-9B00-E453F33B9B85}" dt="2022-05-19T13:35:46.356" v="3585"/>
          <ac:spMkLst>
            <pc:docMk/>
            <pc:sldMk cId="3047865759" sldId="450"/>
            <ac:spMk id="176" creationId="{A7BCA422-0A56-4524-AFCF-E286C4CF5D0C}"/>
          </ac:spMkLst>
        </pc:spChg>
        <pc:spChg chg="mod">
          <ac:chgData name="Olars Björn" userId="1c81218a-21ec-413f-8dc1-a8bd0b85f8ba" providerId="ADAL" clId="{23B7052A-A97B-4FF0-9B00-E453F33B9B85}" dt="2022-05-19T13:35:46.356" v="3585"/>
          <ac:spMkLst>
            <pc:docMk/>
            <pc:sldMk cId="3047865759" sldId="450"/>
            <ac:spMk id="178" creationId="{1FF6028C-9F32-4B54-9619-7078746B1AC7}"/>
          </ac:spMkLst>
        </pc:spChg>
        <pc:spChg chg="mod">
          <ac:chgData name="Olars Björn" userId="1c81218a-21ec-413f-8dc1-a8bd0b85f8ba" providerId="ADAL" clId="{23B7052A-A97B-4FF0-9B00-E453F33B9B85}" dt="2022-05-19T13:35:46.356" v="3585"/>
          <ac:spMkLst>
            <pc:docMk/>
            <pc:sldMk cId="3047865759" sldId="450"/>
            <ac:spMk id="179" creationId="{C69C7276-0370-419E-8BA8-F85968D504CC}"/>
          </ac:spMkLst>
        </pc:spChg>
        <pc:spChg chg="mod">
          <ac:chgData name="Olars Björn" userId="1c81218a-21ec-413f-8dc1-a8bd0b85f8ba" providerId="ADAL" clId="{23B7052A-A97B-4FF0-9B00-E453F33B9B85}" dt="2022-05-19T13:35:46.356" v="3585"/>
          <ac:spMkLst>
            <pc:docMk/>
            <pc:sldMk cId="3047865759" sldId="450"/>
            <ac:spMk id="180" creationId="{1485477F-6575-4446-86F4-968FC3F2C1AF}"/>
          </ac:spMkLst>
        </pc:spChg>
        <pc:spChg chg="mod">
          <ac:chgData name="Olars Björn" userId="1c81218a-21ec-413f-8dc1-a8bd0b85f8ba" providerId="ADAL" clId="{23B7052A-A97B-4FF0-9B00-E453F33B9B85}" dt="2022-05-19T13:35:46.356" v="3585"/>
          <ac:spMkLst>
            <pc:docMk/>
            <pc:sldMk cId="3047865759" sldId="450"/>
            <ac:spMk id="181" creationId="{4AC46325-0622-4F01-82B4-DF09194B14FC}"/>
          </ac:spMkLst>
        </pc:spChg>
        <pc:spChg chg="mod">
          <ac:chgData name="Olars Björn" userId="1c81218a-21ec-413f-8dc1-a8bd0b85f8ba" providerId="ADAL" clId="{23B7052A-A97B-4FF0-9B00-E453F33B9B85}" dt="2022-05-19T13:35:46.356" v="3585"/>
          <ac:spMkLst>
            <pc:docMk/>
            <pc:sldMk cId="3047865759" sldId="450"/>
            <ac:spMk id="183" creationId="{77AC4ADA-1481-47AB-8EC6-91D515473227}"/>
          </ac:spMkLst>
        </pc:spChg>
        <pc:spChg chg="mod">
          <ac:chgData name="Olars Björn" userId="1c81218a-21ec-413f-8dc1-a8bd0b85f8ba" providerId="ADAL" clId="{23B7052A-A97B-4FF0-9B00-E453F33B9B85}" dt="2022-05-19T13:35:46.356" v="3585"/>
          <ac:spMkLst>
            <pc:docMk/>
            <pc:sldMk cId="3047865759" sldId="450"/>
            <ac:spMk id="184" creationId="{A5132BA8-1622-49BD-B88F-44A2A0DA1E64}"/>
          </ac:spMkLst>
        </pc:spChg>
        <pc:spChg chg="mod">
          <ac:chgData name="Olars Björn" userId="1c81218a-21ec-413f-8dc1-a8bd0b85f8ba" providerId="ADAL" clId="{23B7052A-A97B-4FF0-9B00-E453F33B9B85}" dt="2022-05-19T13:35:46.356" v="3585"/>
          <ac:spMkLst>
            <pc:docMk/>
            <pc:sldMk cId="3047865759" sldId="450"/>
            <ac:spMk id="185" creationId="{03218A6B-C1B7-40BD-B663-EC56942A8DA3}"/>
          </ac:spMkLst>
        </pc:spChg>
        <pc:spChg chg="mod">
          <ac:chgData name="Olars Björn" userId="1c81218a-21ec-413f-8dc1-a8bd0b85f8ba" providerId="ADAL" clId="{23B7052A-A97B-4FF0-9B00-E453F33B9B85}" dt="2022-05-19T13:35:46.356" v="3585"/>
          <ac:spMkLst>
            <pc:docMk/>
            <pc:sldMk cId="3047865759" sldId="450"/>
            <ac:spMk id="186" creationId="{6A02C24A-E60C-4761-B00E-A811052AA330}"/>
          </ac:spMkLst>
        </pc:spChg>
        <pc:spChg chg="mod">
          <ac:chgData name="Olars Björn" userId="1c81218a-21ec-413f-8dc1-a8bd0b85f8ba" providerId="ADAL" clId="{23B7052A-A97B-4FF0-9B00-E453F33B9B85}" dt="2022-05-19T13:35:46.356" v="3585"/>
          <ac:spMkLst>
            <pc:docMk/>
            <pc:sldMk cId="3047865759" sldId="450"/>
            <ac:spMk id="188" creationId="{6B280531-E89F-4F13-9DE9-D5EFC49AE18D}"/>
          </ac:spMkLst>
        </pc:spChg>
        <pc:spChg chg="mod">
          <ac:chgData name="Olars Björn" userId="1c81218a-21ec-413f-8dc1-a8bd0b85f8ba" providerId="ADAL" clId="{23B7052A-A97B-4FF0-9B00-E453F33B9B85}" dt="2022-05-19T13:35:46.356" v="3585"/>
          <ac:spMkLst>
            <pc:docMk/>
            <pc:sldMk cId="3047865759" sldId="450"/>
            <ac:spMk id="189" creationId="{ABC7107A-41B2-493C-8477-7211B16FD4F5}"/>
          </ac:spMkLst>
        </pc:spChg>
        <pc:spChg chg="mod">
          <ac:chgData name="Olars Björn" userId="1c81218a-21ec-413f-8dc1-a8bd0b85f8ba" providerId="ADAL" clId="{23B7052A-A97B-4FF0-9B00-E453F33B9B85}" dt="2022-05-19T13:35:46.356" v="3585"/>
          <ac:spMkLst>
            <pc:docMk/>
            <pc:sldMk cId="3047865759" sldId="450"/>
            <ac:spMk id="190" creationId="{FCBFAC2A-41FC-4D4A-84A2-BEF7E9F1AE6A}"/>
          </ac:spMkLst>
        </pc:spChg>
        <pc:spChg chg="mod">
          <ac:chgData name="Olars Björn" userId="1c81218a-21ec-413f-8dc1-a8bd0b85f8ba" providerId="ADAL" clId="{23B7052A-A97B-4FF0-9B00-E453F33B9B85}" dt="2022-05-19T13:35:46.356" v="3585"/>
          <ac:spMkLst>
            <pc:docMk/>
            <pc:sldMk cId="3047865759" sldId="450"/>
            <ac:spMk id="191" creationId="{CFEEA60A-5F5F-42A8-A045-286FAA4AF88A}"/>
          </ac:spMkLst>
        </pc:spChg>
        <pc:spChg chg="mod">
          <ac:chgData name="Olars Björn" userId="1c81218a-21ec-413f-8dc1-a8bd0b85f8ba" providerId="ADAL" clId="{23B7052A-A97B-4FF0-9B00-E453F33B9B85}" dt="2022-05-19T13:35:46.356" v="3585"/>
          <ac:spMkLst>
            <pc:docMk/>
            <pc:sldMk cId="3047865759" sldId="450"/>
            <ac:spMk id="193" creationId="{7448442D-520C-427D-8F01-DCB68A6460A6}"/>
          </ac:spMkLst>
        </pc:spChg>
        <pc:spChg chg="mod">
          <ac:chgData name="Olars Björn" userId="1c81218a-21ec-413f-8dc1-a8bd0b85f8ba" providerId="ADAL" clId="{23B7052A-A97B-4FF0-9B00-E453F33B9B85}" dt="2022-05-19T13:35:46.356" v="3585"/>
          <ac:spMkLst>
            <pc:docMk/>
            <pc:sldMk cId="3047865759" sldId="450"/>
            <ac:spMk id="194" creationId="{D6561AA0-0E1D-49D4-BBC4-EABCC48AA7DD}"/>
          </ac:spMkLst>
        </pc:spChg>
        <pc:spChg chg="mod">
          <ac:chgData name="Olars Björn" userId="1c81218a-21ec-413f-8dc1-a8bd0b85f8ba" providerId="ADAL" clId="{23B7052A-A97B-4FF0-9B00-E453F33B9B85}" dt="2022-05-19T13:35:46.356" v="3585"/>
          <ac:spMkLst>
            <pc:docMk/>
            <pc:sldMk cId="3047865759" sldId="450"/>
            <ac:spMk id="195" creationId="{68116DE4-7F96-4701-85EA-6610B1303D3A}"/>
          </ac:spMkLst>
        </pc:spChg>
        <pc:spChg chg="mod">
          <ac:chgData name="Olars Björn" userId="1c81218a-21ec-413f-8dc1-a8bd0b85f8ba" providerId="ADAL" clId="{23B7052A-A97B-4FF0-9B00-E453F33B9B85}" dt="2022-05-19T13:35:46.356" v="3585"/>
          <ac:spMkLst>
            <pc:docMk/>
            <pc:sldMk cId="3047865759" sldId="450"/>
            <ac:spMk id="196" creationId="{51C546EE-5B4E-49C7-A12D-E096E9B8E47A}"/>
          </ac:spMkLst>
        </pc:spChg>
        <pc:spChg chg="mod">
          <ac:chgData name="Olars Björn" userId="1c81218a-21ec-413f-8dc1-a8bd0b85f8ba" providerId="ADAL" clId="{23B7052A-A97B-4FF0-9B00-E453F33B9B85}" dt="2022-05-19T13:36:14.296" v="3591" actId="404"/>
          <ac:spMkLst>
            <pc:docMk/>
            <pc:sldMk cId="3047865759" sldId="450"/>
            <ac:spMk id="198" creationId="{01F226D8-27A0-4BF0-927B-4EEC789DBFE8}"/>
          </ac:spMkLst>
        </pc:spChg>
        <pc:spChg chg="mod">
          <ac:chgData name="Olars Björn" userId="1c81218a-21ec-413f-8dc1-a8bd0b85f8ba" providerId="ADAL" clId="{23B7052A-A97B-4FF0-9B00-E453F33B9B85}" dt="2022-05-19T13:36:14.296" v="3591" actId="404"/>
          <ac:spMkLst>
            <pc:docMk/>
            <pc:sldMk cId="3047865759" sldId="450"/>
            <ac:spMk id="199" creationId="{679DADDA-CF6E-4473-9ADC-64BD7A3FDA10}"/>
          </ac:spMkLst>
        </pc:spChg>
        <pc:spChg chg="mod">
          <ac:chgData name="Olars Björn" userId="1c81218a-21ec-413f-8dc1-a8bd0b85f8ba" providerId="ADAL" clId="{23B7052A-A97B-4FF0-9B00-E453F33B9B85}" dt="2022-05-19T13:36:14.296" v="3591" actId="404"/>
          <ac:spMkLst>
            <pc:docMk/>
            <pc:sldMk cId="3047865759" sldId="450"/>
            <ac:spMk id="200" creationId="{9EE0271E-302D-4179-A488-EDCE67065277}"/>
          </ac:spMkLst>
        </pc:spChg>
        <pc:spChg chg="mod">
          <ac:chgData name="Olars Björn" userId="1c81218a-21ec-413f-8dc1-a8bd0b85f8ba" providerId="ADAL" clId="{23B7052A-A97B-4FF0-9B00-E453F33B9B85}" dt="2022-05-19T13:36:14.296" v="3591" actId="404"/>
          <ac:spMkLst>
            <pc:docMk/>
            <pc:sldMk cId="3047865759" sldId="450"/>
            <ac:spMk id="201" creationId="{024949AC-D4C3-4427-AD59-28B3AC6E1216}"/>
          </ac:spMkLst>
        </pc:spChg>
        <pc:spChg chg="mod">
          <ac:chgData name="Olars Björn" userId="1c81218a-21ec-413f-8dc1-a8bd0b85f8ba" providerId="ADAL" clId="{23B7052A-A97B-4FF0-9B00-E453F33B9B85}" dt="2022-05-19T13:35:46.356" v="3585"/>
          <ac:spMkLst>
            <pc:docMk/>
            <pc:sldMk cId="3047865759" sldId="450"/>
            <ac:spMk id="203" creationId="{F984676D-1C8B-4877-B7BF-25C1BF2FE35E}"/>
          </ac:spMkLst>
        </pc:spChg>
        <pc:spChg chg="mod">
          <ac:chgData name="Olars Björn" userId="1c81218a-21ec-413f-8dc1-a8bd0b85f8ba" providerId="ADAL" clId="{23B7052A-A97B-4FF0-9B00-E453F33B9B85}" dt="2022-05-19T13:35:46.356" v="3585"/>
          <ac:spMkLst>
            <pc:docMk/>
            <pc:sldMk cId="3047865759" sldId="450"/>
            <ac:spMk id="204" creationId="{E12E9AE5-7F26-4307-B1EE-8280D7CFF38D}"/>
          </ac:spMkLst>
        </pc:spChg>
        <pc:spChg chg="mod">
          <ac:chgData name="Olars Björn" userId="1c81218a-21ec-413f-8dc1-a8bd0b85f8ba" providerId="ADAL" clId="{23B7052A-A97B-4FF0-9B00-E453F33B9B85}" dt="2022-05-19T13:35:46.356" v="3585"/>
          <ac:spMkLst>
            <pc:docMk/>
            <pc:sldMk cId="3047865759" sldId="450"/>
            <ac:spMk id="205" creationId="{91C7F652-7AC8-4B1E-905E-7C7607FE6434}"/>
          </ac:spMkLst>
        </pc:spChg>
        <pc:spChg chg="mod">
          <ac:chgData name="Olars Björn" userId="1c81218a-21ec-413f-8dc1-a8bd0b85f8ba" providerId="ADAL" clId="{23B7052A-A97B-4FF0-9B00-E453F33B9B85}" dt="2022-05-19T13:35:46.356" v="3585"/>
          <ac:spMkLst>
            <pc:docMk/>
            <pc:sldMk cId="3047865759" sldId="450"/>
            <ac:spMk id="206" creationId="{2AA8430B-A990-409E-B5F6-EE529D00F81E}"/>
          </ac:spMkLst>
        </pc:spChg>
        <pc:spChg chg="mod">
          <ac:chgData name="Olars Björn" userId="1c81218a-21ec-413f-8dc1-a8bd0b85f8ba" providerId="ADAL" clId="{23B7052A-A97B-4FF0-9B00-E453F33B9B85}" dt="2022-05-19T13:35:46.356" v="3585"/>
          <ac:spMkLst>
            <pc:docMk/>
            <pc:sldMk cId="3047865759" sldId="450"/>
            <ac:spMk id="208" creationId="{281FDE4E-9497-43CA-A467-C2763001D66F}"/>
          </ac:spMkLst>
        </pc:spChg>
        <pc:spChg chg="mod">
          <ac:chgData name="Olars Björn" userId="1c81218a-21ec-413f-8dc1-a8bd0b85f8ba" providerId="ADAL" clId="{23B7052A-A97B-4FF0-9B00-E453F33B9B85}" dt="2022-05-19T13:35:46.356" v="3585"/>
          <ac:spMkLst>
            <pc:docMk/>
            <pc:sldMk cId="3047865759" sldId="450"/>
            <ac:spMk id="209" creationId="{34D8B644-848D-4A52-A67A-CCCAC58DDE63}"/>
          </ac:spMkLst>
        </pc:spChg>
        <pc:spChg chg="mod">
          <ac:chgData name="Olars Björn" userId="1c81218a-21ec-413f-8dc1-a8bd0b85f8ba" providerId="ADAL" clId="{23B7052A-A97B-4FF0-9B00-E453F33B9B85}" dt="2022-05-19T13:35:46.356" v="3585"/>
          <ac:spMkLst>
            <pc:docMk/>
            <pc:sldMk cId="3047865759" sldId="450"/>
            <ac:spMk id="210" creationId="{B02A8B75-EDA3-4061-97A0-E9ADA21A4A8A}"/>
          </ac:spMkLst>
        </pc:spChg>
        <pc:spChg chg="mod">
          <ac:chgData name="Olars Björn" userId="1c81218a-21ec-413f-8dc1-a8bd0b85f8ba" providerId="ADAL" clId="{23B7052A-A97B-4FF0-9B00-E453F33B9B85}" dt="2022-05-19T13:35:46.356" v="3585"/>
          <ac:spMkLst>
            <pc:docMk/>
            <pc:sldMk cId="3047865759" sldId="450"/>
            <ac:spMk id="211" creationId="{867D926D-6636-41A4-9241-F496092A682F}"/>
          </ac:spMkLst>
        </pc:spChg>
        <pc:spChg chg="mod">
          <ac:chgData name="Olars Björn" userId="1c81218a-21ec-413f-8dc1-a8bd0b85f8ba" providerId="ADAL" clId="{23B7052A-A97B-4FF0-9B00-E453F33B9B85}" dt="2022-05-19T13:35:46.356" v="3585"/>
          <ac:spMkLst>
            <pc:docMk/>
            <pc:sldMk cId="3047865759" sldId="450"/>
            <ac:spMk id="213" creationId="{A2FE494F-FFFA-4F52-971D-8FC86203A150}"/>
          </ac:spMkLst>
        </pc:spChg>
        <pc:spChg chg="mod">
          <ac:chgData name="Olars Björn" userId="1c81218a-21ec-413f-8dc1-a8bd0b85f8ba" providerId="ADAL" clId="{23B7052A-A97B-4FF0-9B00-E453F33B9B85}" dt="2022-05-19T13:35:46.356" v="3585"/>
          <ac:spMkLst>
            <pc:docMk/>
            <pc:sldMk cId="3047865759" sldId="450"/>
            <ac:spMk id="214" creationId="{FF6BF054-B0A0-47C2-BA20-434D3337611B}"/>
          </ac:spMkLst>
        </pc:spChg>
        <pc:spChg chg="mod">
          <ac:chgData name="Olars Björn" userId="1c81218a-21ec-413f-8dc1-a8bd0b85f8ba" providerId="ADAL" clId="{23B7052A-A97B-4FF0-9B00-E453F33B9B85}" dt="2022-05-19T13:35:46.356" v="3585"/>
          <ac:spMkLst>
            <pc:docMk/>
            <pc:sldMk cId="3047865759" sldId="450"/>
            <ac:spMk id="215" creationId="{161D542A-4C0F-4432-BC1E-68F6AF851702}"/>
          </ac:spMkLst>
        </pc:spChg>
        <pc:spChg chg="mod">
          <ac:chgData name="Olars Björn" userId="1c81218a-21ec-413f-8dc1-a8bd0b85f8ba" providerId="ADAL" clId="{23B7052A-A97B-4FF0-9B00-E453F33B9B85}" dt="2022-05-19T13:35:46.356" v="3585"/>
          <ac:spMkLst>
            <pc:docMk/>
            <pc:sldMk cId="3047865759" sldId="450"/>
            <ac:spMk id="216" creationId="{EADBB942-6985-4FDE-BEC1-0515968349E3}"/>
          </ac:spMkLst>
        </pc:spChg>
        <pc:spChg chg="mod">
          <ac:chgData name="Olars Björn" userId="1c81218a-21ec-413f-8dc1-a8bd0b85f8ba" providerId="ADAL" clId="{23B7052A-A97B-4FF0-9B00-E453F33B9B85}" dt="2022-05-19T13:35:46.356" v="3585"/>
          <ac:spMkLst>
            <pc:docMk/>
            <pc:sldMk cId="3047865759" sldId="450"/>
            <ac:spMk id="218" creationId="{C935E01A-49F2-42F4-ACE4-C28AD3529024}"/>
          </ac:spMkLst>
        </pc:spChg>
        <pc:spChg chg="mod">
          <ac:chgData name="Olars Björn" userId="1c81218a-21ec-413f-8dc1-a8bd0b85f8ba" providerId="ADAL" clId="{23B7052A-A97B-4FF0-9B00-E453F33B9B85}" dt="2022-05-19T13:35:46.356" v="3585"/>
          <ac:spMkLst>
            <pc:docMk/>
            <pc:sldMk cId="3047865759" sldId="450"/>
            <ac:spMk id="219" creationId="{F1A060A5-1DBA-4698-BDDA-5B10CACDC0BF}"/>
          </ac:spMkLst>
        </pc:spChg>
        <pc:spChg chg="mod">
          <ac:chgData name="Olars Björn" userId="1c81218a-21ec-413f-8dc1-a8bd0b85f8ba" providerId="ADAL" clId="{23B7052A-A97B-4FF0-9B00-E453F33B9B85}" dt="2022-05-19T13:35:46.356" v="3585"/>
          <ac:spMkLst>
            <pc:docMk/>
            <pc:sldMk cId="3047865759" sldId="450"/>
            <ac:spMk id="220" creationId="{C7E0DF86-BCA7-4AFE-8569-880EFCAE0148}"/>
          </ac:spMkLst>
        </pc:spChg>
        <pc:spChg chg="mod">
          <ac:chgData name="Olars Björn" userId="1c81218a-21ec-413f-8dc1-a8bd0b85f8ba" providerId="ADAL" clId="{23B7052A-A97B-4FF0-9B00-E453F33B9B85}" dt="2022-05-19T13:35:46.356" v="3585"/>
          <ac:spMkLst>
            <pc:docMk/>
            <pc:sldMk cId="3047865759" sldId="450"/>
            <ac:spMk id="221" creationId="{267757EB-8D2E-4452-A507-60191FEE4E87}"/>
          </ac:spMkLst>
        </pc:spChg>
        <pc:spChg chg="mod">
          <ac:chgData name="Olars Björn" userId="1c81218a-21ec-413f-8dc1-a8bd0b85f8ba" providerId="ADAL" clId="{23B7052A-A97B-4FF0-9B00-E453F33B9B85}" dt="2022-05-19T13:35:46.356" v="3585"/>
          <ac:spMkLst>
            <pc:docMk/>
            <pc:sldMk cId="3047865759" sldId="450"/>
            <ac:spMk id="223" creationId="{27A78A27-937C-4200-85F9-0BAD5A66B5BD}"/>
          </ac:spMkLst>
        </pc:spChg>
        <pc:spChg chg="mod">
          <ac:chgData name="Olars Björn" userId="1c81218a-21ec-413f-8dc1-a8bd0b85f8ba" providerId="ADAL" clId="{23B7052A-A97B-4FF0-9B00-E453F33B9B85}" dt="2022-05-19T13:35:46.356" v="3585"/>
          <ac:spMkLst>
            <pc:docMk/>
            <pc:sldMk cId="3047865759" sldId="450"/>
            <ac:spMk id="224" creationId="{7095B690-F1ED-4BEF-93F8-68FD80C4ACAD}"/>
          </ac:spMkLst>
        </pc:spChg>
        <pc:spChg chg="mod">
          <ac:chgData name="Olars Björn" userId="1c81218a-21ec-413f-8dc1-a8bd0b85f8ba" providerId="ADAL" clId="{23B7052A-A97B-4FF0-9B00-E453F33B9B85}" dt="2022-05-19T13:35:46.356" v="3585"/>
          <ac:spMkLst>
            <pc:docMk/>
            <pc:sldMk cId="3047865759" sldId="450"/>
            <ac:spMk id="225" creationId="{55F2301C-D907-4370-B58C-F54DD8D30037}"/>
          </ac:spMkLst>
        </pc:spChg>
        <pc:spChg chg="mod">
          <ac:chgData name="Olars Björn" userId="1c81218a-21ec-413f-8dc1-a8bd0b85f8ba" providerId="ADAL" clId="{23B7052A-A97B-4FF0-9B00-E453F33B9B85}" dt="2022-05-19T13:35:46.356" v="3585"/>
          <ac:spMkLst>
            <pc:docMk/>
            <pc:sldMk cId="3047865759" sldId="450"/>
            <ac:spMk id="226" creationId="{135F940B-294E-4032-B7DC-6B0A01B18B9F}"/>
          </ac:spMkLst>
        </pc:spChg>
        <pc:spChg chg="mod">
          <ac:chgData name="Olars Björn" userId="1c81218a-21ec-413f-8dc1-a8bd0b85f8ba" providerId="ADAL" clId="{23B7052A-A97B-4FF0-9B00-E453F33B9B85}" dt="2022-05-19T13:35:46.356" v="3585"/>
          <ac:spMkLst>
            <pc:docMk/>
            <pc:sldMk cId="3047865759" sldId="450"/>
            <ac:spMk id="228" creationId="{E05F2704-361C-4B57-9E63-D9486905DA39}"/>
          </ac:spMkLst>
        </pc:spChg>
        <pc:spChg chg="mod">
          <ac:chgData name="Olars Björn" userId="1c81218a-21ec-413f-8dc1-a8bd0b85f8ba" providerId="ADAL" clId="{23B7052A-A97B-4FF0-9B00-E453F33B9B85}" dt="2022-05-19T13:35:46.356" v="3585"/>
          <ac:spMkLst>
            <pc:docMk/>
            <pc:sldMk cId="3047865759" sldId="450"/>
            <ac:spMk id="229" creationId="{30B30111-371D-416B-956F-9996CEB27971}"/>
          </ac:spMkLst>
        </pc:spChg>
        <pc:spChg chg="mod">
          <ac:chgData name="Olars Björn" userId="1c81218a-21ec-413f-8dc1-a8bd0b85f8ba" providerId="ADAL" clId="{23B7052A-A97B-4FF0-9B00-E453F33B9B85}" dt="2022-05-19T13:35:46.356" v="3585"/>
          <ac:spMkLst>
            <pc:docMk/>
            <pc:sldMk cId="3047865759" sldId="450"/>
            <ac:spMk id="230" creationId="{F95F3D3F-50C5-4E7C-9E8D-444FA35B6AA3}"/>
          </ac:spMkLst>
        </pc:spChg>
        <pc:spChg chg="mod">
          <ac:chgData name="Olars Björn" userId="1c81218a-21ec-413f-8dc1-a8bd0b85f8ba" providerId="ADAL" clId="{23B7052A-A97B-4FF0-9B00-E453F33B9B85}" dt="2022-05-19T13:35:46.356" v="3585"/>
          <ac:spMkLst>
            <pc:docMk/>
            <pc:sldMk cId="3047865759" sldId="450"/>
            <ac:spMk id="231" creationId="{D7994FDE-0B12-4F91-A835-75685B7D6124}"/>
          </ac:spMkLst>
        </pc:spChg>
        <pc:spChg chg="mod">
          <ac:chgData name="Olars Björn" userId="1c81218a-21ec-413f-8dc1-a8bd0b85f8ba" providerId="ADAL" clId="{23B7052A-A97B-4FF0-9B00-E453F33B9B85}" dt="2022-05-19T13:35:46.356" v="3585"/>
          <ac:spMkLst>
            <pc:docMk/>
            <pc:sldMk cId="3047865759" sldId="450"/>
            <ac:spMk id="233" creationId="{B1FEE2EB-5DD7-4035-8D77-F353264336A5}"/>
          </ac:spMkLst>
        </pc:spChg>
        <pc:spChg chg="mod">
          <ac:chgData name="Olars Björn" userId="1c81218a-21ec-413f-8dc1-a8bd0b85f8ba" providerId="ADAL" clId="{23B7052A-A97B-4FF0-9B00-E453F33B9B85}" dt="2022-05-19T13:35:46.356" v="3585"/>
          <ac:spMkLst>
            <pc:docMk/>
            <pc:sldMk cId="3047865759" sldId="450"/>
            <ac:spMk id="234" creationId="{924CBDA6-3F90-496D-AA31-30F251E1C0D9}"/>
          </ac:spMkLst>
        </pc:spChg>
        <pc:spChg chg="mod">
          <ac:chgData name="Olars Björn" userId="1c81218a-21ec-413f-8dc1-a8bd0b85f8ba" providerId="ADAL" clId="{23B7052A-A97B-4FF0-9B00-E453F33B9B85}" dt="2022-05-19T13:35:46.356" v="3585"/>
          <ac:spMkLst>
            <pc:docMk/>
            <pc:sldMk cId="3047865759" sldId="450"/>
            <ac:spMk id="235" creationId="{A01BFD91-1AF5-4DC0-8960-21F7037626D0}"/>
          </ac:spMkLst>
        </pc:spChg>
        <pc:spChg chg="mod">
          <ac:chgData name="Olars Björn" userId="1c81218a-21ec-413f-8dc1-a8bd0b85f8ba" providerId="ADAL" clId="{23B7052A-A97B-4FF0-9B00-E453F33B9B85}" dt="2022-05-19T13:35:46.356" v="3585"/>
          <ac:spMkLst>
            <pc:docMk/>
            <pc:sldMk cId="3047865759" sldId="450"/>
            <ac:spMk id="236" creationId="{DCCACC8C-1D32-4AAA-8721-0D8385DAB31F}"/>
          </ac:spMkLst>
        </pc:spChg>
        <pc:spChg chg="mod">
          <ac:chgData name="Olars Björn" userId="1c81218a-21ec-413f-8dc1-a8bd0b85f8ba" providerId="ADAL" clId="{23B7052A-A97B-4FF0-9B00-E453F33B9B85}" dt="2022-05-19T13:35:46.356" v="3585"/>
          <ac:spMkLst>
            <pc:docMk/>
            <pc:sldMk cId="3047865759" sldId="450"/>
            <ac:spMk id="238" creationId="{79EE00DD-92F8-4761-B170-7950E11006D3}"/>
          </ac:spMkLst>
        </pc:spChg>
        <pc:spChg chg="mod">
          <ac:chgData name="Olars Björn" userId="1c81218a-21ec-413f-8dc1-a8bd0b85f8ba" providerId="ADAL" clId="{23B7052A-A97B-4FF0-9B00-E453F33B9B85}" dt="2022-05-19T13:35:46.356" v="3585"/>
          <ac:spMkLst>
            <pc:docMk/>
            <pc:sldMk cId="3047865759" sldId="450"/>
            <ac:spMk id="239" creationId="{6DA230DB-E9D4-4D7C-9DD4-B14F9E06D59E}"/>
          </ac:spMkLst>
        </pc:spChg>
        <pc:spChg chg="mod">
          <ac:chgData name="Olars Björn" userId="1c81218a-21ec-413f-8dc1-a8bd0b85f8ba" providerId="ADAL" clId="{23B7052A-A97B-4FF0-9B00-E453F33B9B85}" dt="2022-05-19T13:35:46.356" v="3585"/>
          <ac:spMkLst>
            <pc:docMk/>
            <pc:sldMk cId="3047865759" sldId="450"/>
            <ac:spMk id="240" creationId="{26B71E9D-3B6A-42D5-B4E4-2F0FCB6397D2}"/>
          </ac:spMkLst>
        </pc:spChg>
        <pc:spChg chg="mod">
          <ac:chgData name="Olars Björn" userId="1c81218a-21ec-413f-8dc1-a8bd0b85f8ba" providerId="ADAL" clId="{23B7052A-A97B-4FF0-9B00-E453F33B9B85}" dt="2022-05-19T13:35:46.356" v="3585"/>
          <ac:spMkLst>
            <pc:docMk/>
            <pc:sldMk cId="3047865759" sldId="450"/>
            <ac:spMk id="241" creationId="{115D32A6-E6DC-4F22-BBA6-91CFA6A75058}"/>
          </ac:spMkLst>
        </pc:spChg>
        <pc:spChg chg="mod">
          <ac:chgData name="Olars Björn" userId="1c81218a-21ec-413f-8dc1-a8bd0b85f8ba" providerId="ADAL" clId="{23B7052A-A97B-4FF0-9B00-E453F33B9B85}" dt="2022-05-19T13:35:46.356" v="3585"/>
          <ac:spMkLst>
            <pc:docMk/>
            <pc:sldMk cId="3047865759" sldId="450"/>
            <ac:spMk id="243" creationId="{C812E1F5-518E-4C49-AF36-6DCD6DD9ABAD}"/>
          </ac:spMkLst>
        </pc:spChg>
        <pc:spChg chg="mod">
          <ac:chgData name="Olars Björn" userId="1c81218a-21ec-413f-8dc1-a8bd0b85f8ba" providerId="ADAL" clId="{23B7052A-A97B-4FF0-9B00-E453F33B9B85}" dt="2022-05-19T13:35:46.356" v="3585"/>
          <ac:spMkLst>
            <pc:docMk/>
            <pc:sldMk cId="3047865759" sldId="450"/>
            <ac:spMk id="244" creationId="{5CC93147-7788-40DE-B179-7F34E22711B2}"/>
          </ac:spMkLst>
        </pc:spChg>
        <pc:spChg chg="mod">
          <ac:chgData name="Olars Björn" userId="1c81218a-21ec-413f-8dc1-a8bd0b85f8ba" providerId="ADAL" clId="{23B7052A-A97B-4FF0-9B00-E453F33B9B85}" dt="2022-05-19T13:35:46.356" v="3585"/>
          <ac:spMkLst>
            <pc:docMk/>
            <pc:sldMk cId="3047865759" sldId="450"/>
            <ac:spMk id="245" creationId="{294D3CE0-19FA-4524-B697-1E63DF0E7E0C}"/>
          </ac:spMkLst>
        </pc:spChg>
        <pc:spChg chg="mod">
          <ac:chgData name="Olars Björn" userId="1c81218a-21ec-413f-8dc1-a8bd0b85f8ba" providerId="ADAL" clId="{23B7052A-A97B-4FF0-9B00-E453F33B9B85}" dt="2022-05-19T13:35:46.356" v="3585"/>
          <ac:spMkLst>
            <pc:docMk/>
            <pc:sldMk cId="3047865759" sldId="450"/>
            <ac:spMk id="246" creationId="{52BB2673-AB16-4143-9FE3-BAA4F79E4199}"/>
          </ac:spMkLst>
        </pc:spChg>
        <pc:spChg chg="mod">
          <ac:chgData name="Olars Björn" userId="1c81218a-21ec-413f-8dc1-a8bd0b85f8ba" providerId="ADAL" clId="{23B7052A-A97B-4FF0-9B00-E453F33B9B85}" dt="2022-05-19T13:35:46.356" v="3585"/>
          <ac:spMkLst>
            <pc:docMk/>
            <pc:sldMk cId="3047865759" sldId="450"/>
            <ac:spMk id="248" creationId="{2C55719E-D606-4C56-B5DD-32F7FDDA8D9E}"/>
          </ac:spMkLst>
        </pc:spChg>
        <pc:spChg chg="mod">
          <ac:chgData name="Olars Björn" userId="1c81218a-21ec-413f-8dc1-a8bd0b85f8ba" providerId="ADAL" clId="{23B7052A-A97B-4FF0-9B00-E453F33B9B85}" dt="2022-05-19T13:35:46.356" v="3585"/>
          <ac:spMkLst>
            <pc:docMk/>
            <pc:sldMk cId="3047865759" sldId="450"/>
            <ac:spMk id="249" creationId="{FE4E5325-2394-414D-957B-F1888CDA46EC}"/>
          </ac:spMkLst>
        </pc:spChg>
        <pc:spChg chg="mod">
          <ac:chgData name="Olars Björn" userId="1c81218a-21ec-413f-8dc1-a8bd0b85f8ba" providerId="ADAL" clId="{23B7052A-A97B-4FF0-9B00-E453F33B9B85}" dt="2022-05-19T13:35:46.356" v="3585"/>
          <ac:spMkLst>
            <pc:docMk/>
            <pc:sldMk cId="3047865759" sldId="450"/>
            <ac:spMk id="250" creationId="{0B48D702-DC8B-4CBE-801A-4628647D326B}"/>
          </ac:spMkLst>
        </pc:spChg>
        <pc:spChg chg="mod">
          <ac:chgData name="Olars Björn" userId="1c81218a-21ec-413f-8dc1-a8bd0b85f8ba" providerId="ADAL" clId="{23B7052A-A97B-4FF0-9B00-E453F33B9B85}" dt="2022-05-19T13:35:46.356" v="3585"/>
          <ac:spMkLst>
            <pc:docMk/>
            <pc:sldMk cId="3047865759" sldId="450"/>
            <ac:spMk id="251" creationId="{791CB95C-767C-4AEB-BFA6-2F76435AF6CF}"/>
          </ac:spMkLst>
        </pc:spChg>
        <pc:spChg chg="mod">
          <ac:chgData name="Olars Björn" userId="1c81218a-21ec-413f-8dc1-a8bd0b85f8ba" providerId="ADAL" clId="{23B7052A-A97B-4FF0-9B00-E453F33B9B85}" dt="2022-05-19T13:35:46.356" v="3585"/>
          <ac:spMkLst>
            <pc:docMk/>
            <pc:sldMk cId="3047865759" sldId="450"/>
            <ac:spMk id="253" creationId="{7F3E2618-1F85-4172-BD54-F956082E377D}"/>
          </ac:spMkLst>
        </pc:spChg>
        <pc:spChg chg="mod">
          <ac:chgData name="Olars Björn" userId="1c81218a-21ec-413f-8dc1-a8bd0b85f8ba" providerId="ADAL" clId="{23B7052A-A97B-4FF0-9B00-E453F33B9B85}" dt="2022-05-19T13:35:46.356" v="3585"/>
          <ac:spMkLst>
            <pc:docMk/>
            <pc:sldMk cId="3047865759" sldId="450"/>
            <ac:spMk id="254" creationId="{CEB95F4E-4771-4E3F-A6C0-9EF17C87B871}"/>
          </ac:spMkLst>
        </pc:spChg>
        <pc:spChg chg="mod">
          <ac:chgData name="Olars Björn" userId="1c81218a-21ec-413f-8dc1-a8bd0b85f8ba" providerId="ADAL" clId="{23B7052A-A97B-4FF0-9B00-E453F33B9B85}" dt="2022-05-19T13:35:46.356" v="3585"/>
          <ac:spMkLst>
            <pc:docMk/>
            <pc:sldMk cId="3047865759" sldId="450"/>
            <ac:spMk id="255" creationId="{CD21AD51-4B67-4869-94EB-C0890ECF9E02}"/>
          </ac:spMkLst>
        </pc:spChg>
        <pc:spChg chg="mod">
          <ac:chgData name="Olars Björn" userId="1c81218a-21ec-413f-8dc1-a8bd0b85f8ba" providerId="ADAL" clId="{23B7052A-A97B-4FF0-9B00-E453F33B9B85}" dt="2022-05-19T13:35:46.356" v="3585"/>
          <ac:spMkLst>
            <pc:docMk/>
            <pc:sldMk cId="3047865759" sldId="450"/>
            <ac:spMk id="256" creationId="{7E41C22A-8896-488F-BB3D-159A726E4C3E}"/>
          </ac:spMkLst>
        </pc:spChg>
        <pc:spChg chg="mod">
          <ac:chgData name="Olars Björn" userId="1c81218a-21ec-413f-8dc1-a8bd0b85f8ba" providerId="ADAL" clId="{23B7052A-A97B-4FF0-9B00-E453F33B9B85}" dt="2022-05-19T13:35:46.356" v="3585"/>
          <ac:spMkLst>
            <pc:docMk/>
            <pc:sldMk cId="3047865759" sldId="450"/>
            <ac:spMk id="258" creationId="{120329D6-CE5B-4117-B2F3-4291B9DC8FD6}"/>
          </ac:spMkLst>
        </pc:spChg>
        <pc:spChg chg="mod">
          <ac:chgData name="Olars Björn" userId="1c81218a-21ec-413f-8dc1-a8bd0b85f8ba" providerId="ADAL" clId="{23B7052A-A97B-4FF0-9B00-E453F33B9B85}" dt="2022-05-19T13:35:46.356" v="3585"/>
          <ac:spMkLst>
            <pc:docMk/>
            <pc:sldMk cId="3047865759" sldId="450"/>
            <ac:spMk id="259" creationId="{23BE4921-A6AF-49C5-AF9C-06CC2E512518}"/>
          </ac:spMkLst>
        </pc:spChg>
        <pc:spChg chg="mod">
          <ac:chgData name="Olars Björn" userId="1c81218a-21ec-413f-8dc1-a8bd0b85f8ba" providerId="ADAL" clId="{23B7052A-A97B-4FF0-9B00-E453F33B9B85}" dt="2022-05-19T13:35:46.356" v="3585"/>
          <ac:spMkLst>
            <pc:docMk/>
            <pc:sldMk cId="3047865759" sldId="450"/>
            <ac:spMk id="260" creationId="{54760DB0-B553-4C7F-90F1-9579D83AC5AA}"/>
          </ac:spMkLst>
        </pc:spChg>
        <pc:spChg chg="mod">
          <ac:chgData name="Olars Björn" userId="1c81218a-21ec-413f-8dc1-a8bd0b85f8ba" providerId="ADAL" clId="{23B7052A-A97B-4FF0-9B00-E453F33B9B85}" dt="2022-05-19T13:35:46.356" v="3585"/>
          <ac:spMkLst>
            <pc:docMk/>
            <pc:sldMk cId="3047865759" sldId="450"/>
            <ac:spMk id="261" creationId="{ED0406C7-F944-4660-9A79-8CCE409A03AA}"/>
          </ac:spMkLst>
        </pc:spChg>
        <pc:spChg chg="mod">
          <ac:chgData name="Olars Björn" userId="1c81218a-21ec-413f-8dc1-a8bd0b85f8ba" providerId="ADAL" clId="{23B7052A-A97B-4FF0-9B00-E453F33B9B85}" dt="2022-05-19T13:35:46.356" v="3585"/>
          <ac:spMkLst>
            <pc:docMk/>
            <pc:sldMk cId="3047865759" sldId="450"/>
            <ac:spMk id="263" creationId="{F6D63AE9-D355-47B6-A22F-FBB5AEF3AA47}"/>
          </ac:spMkLst>
        </pc:spChg>
        <pc:spChg chg="mod">
          <ac:chgData name="Olars Björn" userId="1c81218a-21ec-413f-8dc1-a8bd0b85f8ba" providerId="ADAL" clId="{23B7052A-A97B-4FF0-9B00-E453F33B9B85}" dt="2022-05-19T13:35:46.356" v="3585"/>
          <ac:spMkLst>
            <pc:docMk/>
            <pc:sldMk cId="3047865759" sldId="450"/>
            <ac:spMk id="264" creationId="{5F2F9256-5C1E-4BC0-8236-68116FBB6C41}"/>
          </ac:spMkLst>
        </pc:spChg>
        <pc:spChg chg="mod">
          <ac:chgData name="Olars Björn" userId="1c81218a-21ec-413f-8dc1-a8bd0b85f8ba" providerId="ADAL" clId="{23B7052A-A97B-4FF0-9B00-E453F33B9B85}" dt="2022-05-19T13:35:46.356" v="3585"/>
          <ac:spMkLst>
            <pc:docMk/>
            <pc:sldMk cId="3047865759" sldId="450"/>
            <ac:spMk id="265" creationId="{003CBF9A-3F3E-4F9A-8C06-7926B8BBE398}"/>
          </ac:spMkLst>
        </pc:spChg>
        <pc:spChg chg="mod">
          <ac:chgData name="Olars Björn" userId="1c81218a-21ec-413f-8dc1-a8bd0b85f8ba" providerId="ADAL" clId="{23B7052A-A97B-4FF0-9B00-E453F33B9B85}" dt="2022-05-19T13:35:46.356" v="3585"/>
          <ac:spMkLst>
            <pc:docMk/>
            <pc:sldMk cId="3047865759" sldId="450"/>
            <ac:spMk id="266" creationId="{F18E0D6E-A53A-49BC-B8A7-3130F5223BE4}"/>
          </ac:spMkLst>
        </pc:spChg>
        <pc:spChg chg="mod">
          <ac:chgData name="Olars Björn" userId="1c81218a-21ec-413f-8dc1-a8bd0b85f8ba" providerId="ADAL" clId="{23B7052A-A97B-4FF0-9B00-E453F33B9B85}" dt="2022-05-19T13:35:46.356" v="3585"/>
          <ac:spMkLst>
            <pc:docMk/>
            <pc:sldMk cId="3047865759" sldId="450"/>
            <ac:spMk id="268" creationId="{EB6D7342-0961-47A1-814B-1563F764773B}"/>
          </ac:spMkLst>
        </pc:spChg>
        <pc:spChg chg="mod">
          <ac:chgData name="Olars Björn" userId="1c81218a-21ec-413f-8dc1-a8bd0b85f8ba" providerId="ADAL" clId="{23B7052A-A97B-4FF0-9B00-E453F33B9B85}" dt="2022-05-19T13:35:46.356" v="3585"/>
          <ac:spMkLst>
            <pc:docMk/>
            <pc:sldMk cId="3047865759" sldId="450"/>
            <ac:spMk id="269" creationId="{8B3B006F-E06E-436A-8308-172E9B634960}"/>
          </ac:spMkLst>
        </pc:spChg>
        <pc:spChg chg="mod">
          <ac:chgData name="Olars Björn" userId="1c81218a-21ec-413f-8dc1-a8bd0b85f8ba" providerId="ADAL" clId="{23B7052A-A97B-4FF0-9B00-E453F33B9B85}" dt="2022-05-19T13:35:46.356" v="3585"/>
          <ac:spMkLst>
            <pc:docMk/>
            <pc:sldMk cId="3047865759" sldId="450"/>
            <ac:spMk id="270" creationId="{1FAE35DB-51B4-439F-9B36-BFDDB02A9D9E}"/>
          </ac:spMkLst>
        </pc:spChg>
        <pc:spChg chg="mod">
          <ac:chgData name="Olars Björn" userId="1c81218a-21ec-413f-8dc1-a8bd0b85f8ba" providerId="ADAL" clId="{23B7052A-A97B-4FF0-9B00-E453F33B9B85}" dt="2022-05-19T13:35:46.356" v="3585"/>
          <ac:spMkLst>
            <pc:docMk/>
            <pc:sldMk cId="3047865759" sldId="450"/>
            <ac:spMk id="271" creationId="{02B7A768-3E66-45F8-9877-E11B20641B92}"/>
          </ac:spMkLst>
        </pc:spChg>
        <pc:spChg chg="mod">
          <ac:chgData name="Olars Björn" userId="1c81218a-21ec-413f-8dc1-a8bd0b85f8ba" providerId="ADAL" clId="{23B7052A-A97B-4FF0-9B00-E453F33B9B85}" dt="2022-05-19T13:35:46.356" v="3585"/>
          <ac:spMkLst>
            <pc:docMk/>
            <pc:sldMk cId="3047865759" sldId="450"/>
            <ac:spMk id="273" creationId="{088DE5AB-8477-4DD4-A5D3-2CD74B565E6B}"/>
          </ac:spMkLst>
        </pc:spChg>
        <pc:spChg chg="mod">
          <ac:chgData name="Olars Björn" userId="1c81218a-21ec-413f-8dc1-a8bd0b85f8ba" providerId="ADAL" clId="{23B7052A-A97B-4FF0-9B00-E453F33B9B85}" dt="2022-05-19T13:35:46.356" v="3585"/>
          <ac:spMkLst>
            <pc:docMk/>
            <pc:sldMk cId="3047865759" sldId="450"/>
            <ac:spMk id="274" creationId="{BC4EB5C3-659B-4FB2-877B-F26A6C555C47}"/>
          </ac:spMkLst>
        </pc:spChg>
        <pc:spChg chg="mod">
          <ac:chgData name="Olars Björn" userId="1c81218a-21ec-413f-8dc1-a8bd0b85f8ba" providerId="ADAL" clId="{23B7052A-A97B-4FF0-9B00-E453F33B9B85}" dt="2022-05-19T13:35:46.356" v="3585"/>
          <ac:spMkLst>
            <pc:docMk/>
            <pc:sldMk cId="3047865759" sldId="450"/>
            <ac:spMk id="275" creationId="{0FFF152C-6D28-42B6-9994-BD0F70DC12D9}"/>
          </ac:spMkLst>
        </pc:spChg>
        <pc:spChg chg="mod">
          <ac:chgData name="Olars Björn" userId="1c81218a-21ec-413f-8dc1-a8bd0b85f8ba" providerId="ADAL" clId="{23B7052A-A97B-4FF0-9B00-E453F33B9B85}" dt="2022-05-19T13:35:46.356" v="3585"/>
          <ac:spMkLst>
            <pc:docMk/>
            <pc:sldMk cId="3047865759" sldId="450"/>
            <ac:spMk id="276" creationId="{F6813A18-614B-4C35-8F5D-9BD9410D20B6}"/>
          </ac:spMkLst>
        </pc:spChg>
        <pc:spChg chg="mod">
          <ac:chgData name="Olars Björn" userId="1c81218a-21ec-413f-8dc1-a8bd0b85f8ba" providerId="ADAL" clId="{23B7052A-A97B-4FF0-9B00-E453F33B9B85}" dt="2022-05-19T13:35:46.356" v="3585"/>
          <ac:spMkLst>
            <pc:docMk/>
            <pc:sldMk cId="3047865759" sldId="450"/>
            <ac:spMk id="278" creationId="{B6140C54-3FAE-4D50-BCDD-0EF1C1BB5378}"/>
          </ac:spMkLst>
        </pc:spChg>
        <pc:spChg chg="mod">
          <ac:chgData name="Olars Björn" userId="1c81218a-21ec-413f-8dc1-a8bd0b85f8ba" providerId="ADAL" clId="{23B7052A-A97B-4FF0-9B00-E453F33B9B85}" dt="2022-05-19T13:35:46.356" v="3585"/>
          <ac:spMkLst>
            <pc:docMk/>
            <pc:sldMk cId="3047865759" sldId="450"/>
            <ac:spMk id="279" creationId="{766ADDE2-8611-49DA-AA01-18D4E473379C}"/>
          </ac:spMkLst>
        </pc:spChg>
        <pc:spChg chg="mod">
          <ac:chgData name="Olars Björn" userId="1c81218a-21ec-413f-8dc1-a8bd0b85f8ba" providerId="ADAL" clId="{23B7052A-A97B-4FF0-9B00-E453F33B9B85}" dt="2022-05-19T13:35:46.356" v="3585"/>
          <ac:spMkLst>
            <pc:docMk/>
            <pc:sldMk cId="3047865759" sldId="450"/>
            <ac:spMk id="280" creationId="{BC3C7DA9-8E94-4907-97D1-F6C307E5DEE6}"/>
          </ac:spMkLst>
        </pc:spChg>
        <pc:spChg chg="mod">
          <ac:chgData name="Olars Björn" userId="1c81218a-21ec-413f-8dc1-a8bd0b85f8ba" providerId="ADAL" clId="{23B7052A-A97B-4FF0-9B00-E453F33B9B85}" dt="2022-05-19T13:35:46.356" v="3585"/>
          <ac:spMkLst>
            <pc:docMk/>
            <pc:sldMk cId="3047865759" sldId="450"/>
            <ac:spMk id="281" creationId="{C067E376-F7F3-48C1-8148-5C10EAFC46FB}"/>
          </ac:spMkLst>
        </pc:spChg>
        <pc:spChg chg="mod">
          <ac:chgData name="Olars Björn" userId="1c81218a-21ec-413f-8dc1-a8bd0b85f8ba" providerId="ADAL" clId="{23B7052A-A97B-4FF0-9B00-E453F33B9B85}" dt="2022-05-19T13:35:46.356" v="3585"/>
          <ac:spMkLst>
            <pc:docMk/>
            <pc:sldMk cId="3047865759" sldId="450"/>
            <ac:spMk id="283" creationId="{51786FDF-5B77-4E2F-8F3E-CAEBD4101D1D}"/>
          </ac:spMkLst>
        </pc:spChg>
        <pc:spChg chg="mod">
          <ac:chgData name="Olars Björn" userId="1c81218a-21ec-413f-8dc1-a8bd0b85f8ba" providerId="ADAL" clId="{23B7052A-A97B-4FF0-9B00-E453F33B9B85}" dt="2022-05-19T13:35:46.356" v="3585"/>
          <ac:spMkLst>
            <pc:docMk/>
            <pc:sldMk cId="3047865759" sldId="450"/>
            <ac:spMk id="284" creationId="{04FFFC6D-E9E1-448E-91A7-1F0C2368BDDD}"/>
          </ac:spMkLst>
        </pc:spChg>
        <pc:spChg chg="mod">
          <ac:chgData name="Olars Björn" userId="1c81218a-21ec-413f-8dc1-a8bd0b85f8ba" providerId="ADAL" clId="{23B7052A-A97B-4FF0-9B00-E453F33B9B85}" dt="2022-05-19T13:35:46.356" v="3585"/>
          <ac:spMkLst>
            <pc:docMk/>
            <pc:sldMk cId="3047865759" sldId="450"/>
            <ac:spMk id="285" creationId="{88450E30-92B6-4FAA-BF1D-02D93BB020EA}"/>
          </ac:spMkLst>
        </pc:spChg>
        <pc:spChg chg="mod">
          <ac:chgData name="Olars Björn" userId="1c81218a-21ec-413f-8dc1-a8bd0b85f8ba" providerId="ADAL" clId="{23B7052A-A97B-4FF0-9B00-E453F33B9B85}" dt="2022-05-19T13:35:46.356" v="3585"/>
          <ac:spMkLst>
            <pc:docMk/>
            <pc:sldMk cId="3047865759" sldId="450"/>
            <ac:spMk id="286" creationId="{96234C6E-63C9-43CB-BE3A-B8F2061C8564}"/>
          </ac:spMkLst>
        </pc:spChg>
        <pc:spChg chg="add mod">
          <ac:chgData name="Olars Björn" userId="1c81218a-21ec-413f-8dc1-a8bd0b85f8ba" providerId="ADAL" clId="{23B7052A-A97B-4FF0-9B00-E453F33B9B85}" dt="2022-05-19T14:05:39.437" v="5026" actId="20577"/>
          <ac:spMkLst>
            <pc:docMk/>
            <pc:sldMk cId="3047865759" sldId="450"/>
            <ac:spMk id="287" creationId="{50469693-808F-44AD-A7E8-CB69A68013AC}"/>
          </ac:spMkLst>
        </pc:spChg>
        <pc:grpChg chg="add del mod">
          <ac:chgData name="Olars Björn" userId="1c81218a-21ec-413f-8dc1-a8bd0b85f8ba" providerId="ADAL" clId="{23B7052A-A97B-4FF0-9B00-E453F33B9B85}" dt="2022-05-19T13:59:09.121" v="4513" actId="478"/>
          <ac:grpSpMkLst>
            <pc:docMk/>
            <pc:sldMk cId="3047865759" sldId="450"/>
            <ac:grpSpMk id="7" creationId="{7A7A35B3-0DE5-4DEC-B85F-EC5897C680BA}"/>
          </ac:grpSpMkLst>
        </pc:grpChg>
        <pc:grpChg chg="add del mod">
          <ac:chgData name="Olars Björn" userId="1c81218a-21ec-413f-8dc1-a8bd0b85f8ba" providerId="ADAL" clId="{23B7052A-A97B-4FF0-9B00-E453F33B9B85}" dt="2022-05-19T13:59:09.121" v="4513" actId="478"/>
          <ac:grpSpMkLst>
            <pc:docMk/>
            <pc:sldMk cId="3047865759" sldId="450"/>
            <ac:grpSpMk id="12" creationId="{B9E2B1E7-FC0C-454B-BF14-5A47C91B5592}"/>
          </ac:grpSpMkLst>
        </pc:grpChg>
        <pc:grpChg chg="add del mod">
          <ac:chgData name="Olars Björn" userId="1c81218a-21ec-413f-8dc1-a8bd0b85f8ba" providerId="ADAL" clId="{23B7052A-A97B-4FF0-9B00-E453F33B9B85}" dt="2022-05-19T13:59:09.121" v="4513" actId="478"/>
          <ac:grpSpMkLst>
            <pc:docMk/>
            <pc:sldMk cId="3047865759" sldId="450"/>
            <ac:grpSpMk id="17" creationId="{07B60E29-4A34-479D-881C-8C256566EC42}"/>
          </ac:grpSpMkLst>
        </pc:grpChg>
        <pc:grpChg chg="add del mod">
          <ac:chgData name="Olars Björn" userId="1c81218a-21ec-413f-8dc1-a8bd0b85f8ba" providerId="ADAL" clId="{23B7052A-A97B-4FF0-9B00-E453F33B9B85}" dt="2022-05-19T13:59:09.121" v="4513" actId="478"/>
          <ac:grpSpMkLst>
            <pc:docMk/>
            <pc:sldMk cId="3047865759" sldId="450"/>
            <ac:grpSpMk id="22" creationId="{69EA2F0A-7D8A-405F-B9F4-859737A71B58}"/>
          </ac:grpSpMkLst>
        </pc:grpChg>
        <pc:grpChg chg="add del mod">
          <ac:chgData name="Olars Björn" userId="1c81218a-21ec-413f-8dc1-a8bd0b85f8ba" providerId="ADAL" clId="{23B7052A-A97B-4FF0-9B00-E453F33B9B85}" dt="2022-05-19T13:59:09.121" v="4513" actId="478"/>
          <ac:grpSpMkLst>
            <pc:docMk/>
            <pc:sldMk cId="3047865759" sldId="450"/>
            <ac:grpSpMk id="27" creationId="{86977D36-E03A-4114-9D87-D5181C44D5C7}"/>
          </ac:grpSpMkLst>
        </pc:grpChg>
        <pc:grpChg chg="add del mod">
          <ac:chgData name="Olars Björn" userId="1c81218a-21ec-413f-8dc1-a8bd0b85f8ba" providerId="ADAL" clId="{23B7052A-A97B-4FF0-9B00-E453F33B9B85}" dt="2022-05-19T13:59:09.121" v="4513" actId="478"/>
          <ac:grpSpMkLst>
            <pc:docMk/>
            <pc:sldMk cId="3047865759" sldId="450"/>
            <ac:grpSpMk id="32" creationId="{01B1D254-D784-48C8-95CE-D7F3BB50B074}"/>
          </ac:grpSpMkLst>
        </pc:grpChg>
        <pc:grpChg chg="add del mod">
          <ac:chgData name="Olars Björn" userId="1c81218a-21ec-413f-8dc1-a8bd0b85f8ba" providerId="ADAL" clId="{23B7052A-A97B-4FF0-9B00-E453F33B9B85}" dt="2022-05-19T13:59:09.121" v="4513" actId="478"/>
          <ac:grpSpMkLst>
            <pc:docMk/>
            <pc:sldMk cId="3047865759" sldId="450"/>
            <ac:grpSpMk id="37" creationId="{EE4BB0BD-4B3E-422E-A470-001E076D4195}"/>
          </ac:grpSpMkLst>
        </pc:grpChg>
        <pc:grpChg chg="add del mod">
          <ac:chgData name="Olars Björn" userId="1c81218a-21ec-413f-8dc1-a8bd0b85f8ba" providerId="ADAL" clId="{23B7052A-A97B-4FF0-9B00-E453F33B9B85}" dt="2022-05-19T13:59:09.121" v="4513" actId="478"/>
          <ac:grpSpMkLst>
            <pc:docMk/>
            <pc:sldMk cId="3047865759" sldId="450"/>
            <ac:grpSpMk id="42" creationId="{47362674-C7C5-4833-A912-6D252E9A9DD8}"/>
          </ac:grpSpMkLst>
        </pc:grpChg>
        <pc:grpChg chg="add del mod">
          <ac:chgData name="Olars Björn" userId="1c81218a-21ec-413f-8dc1-a8bd0b85f8ba" providerId="ADAL" clId="{23B7052A-A97B-4FF0-9B00-E453F33B9B85}" dt="2022-05-19T13:59:09.121" v="4513" actId="478"/>
          <ac:grpSpMkLst>
            <pc:docMk/>
            <pc:sldMk cId="3047865759" sldId="450"/>
            <ac:grpSpMk id="47" creationId="{FC79EC43-5ADB-4CB3-873D-57CFB96CAC9E}"/>
          </ac:grpSpMkLst>
        </pc:grpChg>
        <pc:grpChg chg="add del mod">
          <ac:chgData name="Olars Björn" userId="1c81218a-21ec-413f-8dc1-a8bd0b85f8ba" providerId="ADAL" clId="{23B7052A-A97B-4FF0-9B00-E453F33B9B85}" dt="2022-05-19T13:59:09.121" v="4513" actId="478"/>
          <ac:grpSpMkLst>
            <pc:docMk/>
            <pc:sldMk cId="3047865759" sldId="450"/>
            <ac:grpSpMk id="52" creationId="{EEB43ED1-A0C3-453E-983A-0C402D0B9144}"/>
          </ac:grpSpMkLst>
        </pc:grpChg>
        <pc:grpChg chg="add del mod">
          <ac:chgData name="Olars Björn" userId="1c81218a-21ec-413f-8dc1-a8bd0b85f8ba" providerId="ADAL" clId="{23B7052A-A97B-4FF0-9B00-E453F33B9B85}" dt="2022-05-19T13:59:09.121" v="4513" actId="478"/>
          <ac:grpSpMkLst>
            <pc:docMk/>
            <pc:sldMk cId="3047865759" sldId="450"/>
            <ac:grpSpMk id="57" creationId="{A3BDD369-3E4D-46CD-A5B1-B40B4651682E}"/>
          </ac:grpSpMkLst>
        </pc:grpChg>
        <pc:grpChg chg="add del mod">
          <ac:chgData name="Olars Björn" userId="1c81218a-21ec-413f-8dc1-a8bd0b85f8ba" providerId="ADAL" clId="{23B7052A-A97B-4FF0-9B00-E453F33B9B85}" dt="2022-05-19T13:59:09.121" v="4513" actId="478"/>
          <ac:grpSpMkLst>
            <pc:docMk/>
            <pc:sldMk cId="3047865759" sldId="450"/>
            <ac:grpSpMk id="62" creationId="{A14053B9-0124-4DDE-846C-C0E8F1DBCEDA}"/>
          </ac:grpSpMkLst>
        </pc:grpChg>
        <pc:grpChg chg="add del mod">
          <ac:chgData name="Olars Björn" userId="1c81218a-21ec-413f-8dc1-a8bd0b85f8ba" providerId="ADAL" clId="{23B7052A-A97B-4FF0-9B00-E453F33B9B85}" dt="2022-05-19T13:59:09.121" v="4513" actId="478"/>
          <ac:grpSpMkLst>
            <pc:docMk/>
            <pc:sldMk cId="3047865759" sldId="450"/>
            <ac:grpSpMk id="67" creationId="{D9D0058A-CD0B-493A-A111-9C51FAA06D9C}"/>
          </ac:grpSpMkLst>
        </pc:grpChg>
        <pc:grpChg chg="add del mod">
          <ac:chgData name="Olars Björn" userId="1c81218a-21ec-413f-8dc1-a8bd0b85f8ba" providerId="ADAL" clId="{23B7052A-A97B-4FF0-9B00-E453F33B9B85}" dt="2022-05-19T13:59:09.121" v="4513" actId="478"/>
          <ac:grpSpMkLst>
            <pc:docMk/>
            <pc:sldMk cId="3047865759" sldId="450"/>
            <ac:grpSpMk id="72" creationId="{E423A8E8-D1B8-48F7-B026-298FF5486757}"/>
          </ac:grpSpMkLst>
        </pc:grpChg>
        <pc:grpChg chg="add del mod">
          <ac:chgData name="Olars Björn" userId="1c81218a-21ec-413f-8dc1-a8bd0b85f8ba" providerId="ADAL" clId="{23B7052A-A97B-4FF0-9B00-E453F33B9B85}" dt="2022-05-19T13:59:09.121" v="4513" actId="478"/>
          <ac:grpSpMkLst>
            <pc:docMk/>
            <pc:sldMk cId="3047865759" sldId="450"/>
            <ac:grpSpMk id="77" creationId="{882D35B6-4165-4D3D-BEC8-52F91498A09E}"/>
          </ac:grpSpMkLst>
        </pc:grpChg>
        <pc:grpChg chg="add del mod">
          <ac:chgData name="Olars Björn" userId="1c81218a-21ec-413f-8dc1-a8bd0b85f8ba" providerId="ADAL" clId="{23B7052A-A97B-4FF0-9B00-E453F33B9B85}" dt="2022-05-19T13:59:09.121" v="4513" actId="478"/>
          <ac:grpSpMkLst>
            <pc:docMk/>
            <pc:sldMk cId="3047865759" sldId="450"/>
            <ac:grpSpMk id="82" creationId="{B596A30B-1E48-4100-95C9-5D2E83851E3D}"/>
          </ac:grpSpMkLst>
        </pc:grpChg>
        <pc:grpChg chg="add del mod">
          <ac:chgData name="Olars Björn" userId="1c81218a-21ec-413f-8dc1-a8bd0b85f8ba" providerId="ADAL" clId="{23B7052A-A97B-4FF0-9B00-E453F33B9B85}" dt="2022-05-19T13:59:09.121" v="4513" actId="478"/>
          <ac:grpSpMkLst>
            <pc:docMk/>
            <pc:sldMk cId="3047865759" sldId="450"/>
            <ac:grpSpMk id="87" creationId="{177D70BA-A31B-4144-9F61-B027BAD04E50}"/>
          </ac:grpSpMkLst>
        </pc:grpChg>
        <pc:grpChg chg="add del mod">
          <ac:chgData name="Olars Björn" userId="1c81218a-21ec-413f-8dc1-a8bd0b85f8ba" providerId="ADAL" clId="{23B7052A-A97B-4FF0-9B00-E453F33B9B85}" dt="2022-05-19T13:59:09.121" v="4513" actId="478"/>
          <ac:grpSpMkLst>
            <pc:docMk/>
            <pc:sldMk cId="3047865759" sldId="450"/>
            <ac:grpSpMk id="92" creationId="{7F1F4B70-CD7E-44F9-9C0A-29868107F490}"/>
          </ac:grpSpMkLst>
        </pc:grpChg>
        <pc:grpChg chg="add del mod">
          <ac:chgData name="Olars Björn" userId="1c81218a-21ec-413f-8dc1-a8bd0b85f8ba" providerId="ADAL" clId="{23B7052A-A97B-4FF0-9B00-E453F33B9B85}" dt="2022-05-19T13:59:09.121" v="4513" actId="478"/>
          <ac:grpSpMkLst>
            <pc:docMk/>
            <pc:sldMk cId="3047865759" sldId="450"/>
            <ac:grpSpMk id="97" creationId="{432044FB-2F3F-4F74-ADDE-0F8C46D25C07}"/>
          </ac:grpSpMkLst>
        </pc:grpChg>
        <pc:grpChg chg="add del mod">
          <ac:chgData name="Olars Björn" userId="1c81218a-21ec-413f-8dc1-a8bd0b85f8ba" providerId="ADAL" clId="{23B7052A-A97B-4FF0-9B00-E453F33B9B85}" dt="2022-05-19T13:59:09.121" v="4513" actId="478"/>
          <ac:grpSpMkLst>
            <pc:docMk/>
            <pc:sldMk cId="3047865759" sldId="450"/>
            <ac:grpSpMk id="102" creationId="{E6693784-E70B-4796-B346-52DB04D65526}"/>
          </ac:grpSpMkLst>
        </pc:grpChg>
        <pc:grpChg chg="add del mod">
          <ac:chgData name="Olars Björn" userId="1c81218a-21ec-413f-8dc1-a8bd0b85f8ba" providerId="ADAL" clId="{23B7052A-A97B-4FF0-9B00-E453F33B9B85}" dt="2022-05-19T13:59:09.121" v="4513" actId="478"/>
          <ac:grpSpMkLst>
            <pc:docMk/>
            <pc:sldMk cId="3047865759" sldId="450"/>
            <ac:grpSpMk id="107" creationId="{B7159FE4-813A-4404-B0D3-7D84159E3D09}"/>
          </ac:grpSpMkLst>
        </pc:grpChg>
        <pc:grpChg chg="add del mod">
          <ac:chgData name="Olars Björn" userId="1c81218a-21ec-413f-8dc1-a8bd0b85f8ba" providerId="ADAL" clId="{23B7052A-A97B-4FF0-9B00-E453F33B9B85}" dt="2022-05-19T13:59:09.121" v="4513" actId="478"/>
          <ac:grpSpMkLst>
            <pc:docMk/>
            <pc:sldMk cId="3047865759" sldId="450"/>
            <ac:grpSpMk id="112" creationId="{9453C361-1570-4180-978A-1B23DF28BA1D}"/>
          </ac:grpSpMkLst>
        </pc:grpChg>
        <pc:grpChg chg="add del mod">
          <ac:chgData name="Olars Björn" userId="1c81218a-21ec-413f-8dc1-a8bd0b85f8ba" providerId="ADAL" clId="{23B7052A-A97B-4FF0-9B00-E453F33B9B85}" dt="2022-05-19T13:59:09.121" v="4513" actId="478"/>
          <ac:grpSpMkLst>
            <pc:docMk/>
            <pc:sldMk cId="3047865759" sldId="450"/>
            <ac:grpSpMk id="117" creationId="{C9B0E03C-4547-4B2B-BB89-6D657BE74A9D}"/>
          </ac:grpSpMkLst>
        </pc:grpChg>
        <pc:grpChg chg="add del mod">
          <ac:chgData name="Olars Björn" userId="1c81218a-21ec-413f-8dc1-a8bd0b85f8ba" providerId="ADAL" clId="{23B7052A-A97B-4FF0-9B00-E453F33B9B85}" dt="2022-05-19T13:59:09.121" v="4513" actId="478"/>
          <ac:grpSpMkLst>
            <pc:docMk/>
            <pc:sldMk cId="3047865759" sldId="450"/>
            <ac:grpSpMk id="122" creationId="{EB62B614-CC3C-4FB2-BE52-7517F768CB59}"/>
          </ac:grpSpMkLst>
        </pc:grpChg>
        <pc:grpChg chg="add del mod">
          <ac:chgData name="Olars Björn" userId="1c81218a-21ec-413f-8dc1-a8bd0b85f8ba" providerId="ADAL" clId="{23B7052A-A97B-4FF0-9B00-E453F33B9B85}" dt="2022-05-19T13:59:09.121" v="4513" actId="478"/>
          <ac:grpSpMkLst>
            <pc:docMk/>
            <pc:sldMk cId="3047865759" sldId="450"/>
            <ac:grpSpMk id="127" creationId="{4552E65C-5039-4FA5-AC5E-C6CAE505FB51}"/>
          </ac:grpSpMkLst>
        </pc:grpChg>
        <pc:grpChg chg="add del mod">
          <ac:chgData name="Olars Björn" userId="1c81218a-21ec-413f-8dc1-a8bd0b85f8ba" providerId="ADAL" clId="{23B7052A-A97B-4FF0-9B00-E453F33B9B85}" dt="2022-05-19T13:59:09.121" v="4513" actId="478"/>
          <ac:grpSpMkLst>
            <pc:docMk/>
            <pc:sldMk cId="3047865759" sldId="450"/>
            <ac:grpSpMk id="132" creationId="{B4AFA0AC-62B5-49D5-9650-02EBB4B8E9CB}"/>
          </ac:grpSpMkLst>
        </pc:grpChg>
        <pc:grpChg chg="add del mod">
          <ac:chgData name="Olars Björn" userId="1c81218a-21ec-413f-8dc1-a8bd0b85f8ba" providerId="ADAL" clId="{23B7052A-A97B-4FF0-9B00-E453F33B9B85}" dt="2022-05-19T13:59:09.121" v="4513" actId="478"/>
          <ac:grpSpMkLst>
            <pc:docMk/>
            <pc:sldMk cId="3047865759" sldId="450"/>
            <ac:grpSpMk id="137" creationId="{47865DDF-7C26-4418-9F34-BE24C6AD0776}"/>
          </ac:grpSpMkLst>
        </pc:grpChg>
        <pc:grpChg chg="add del mod">
          <ac:chgData name="Olars Björn" userId="1c81218a-21ec-413f-8dc1-a8bd0b85f8ba" providerId="ADAL" clId="{23B7052A-A97B-4FF0-9B00-E453F33B9B85}" dt="2022-05-19T13:59:09.121" v="4513" actId="478"/>
          <ac:grpSpMkLst>
            <pc:docMk/>
            <pc:sldMk cId="3047865759" sldId="450"/>
            <ac:grpSpMk id="142" creationId="{DC23F634-5430-4A35-A764-112A5601C607}"/>
          </ac:grpSpMkLst>
        </pc:grpChg>
        <pc:grpChg chg="add del mod">
          <ac:chgData name="Olars Björn" userId="1c81218a-21ec-413f-8dc1-a8bd0b85f8ba" providerId="ADAL" clId="{23B7052A-A97B-4FF0-9B00-E453F33B9B85}" dt="2022-05-19T13:59:09.121" v="4513" actId="478"/>
          <ac:grpSpMkLst>
            <pc:docMk/>
            <pc:sldMk cId="3047865759" sldId="450"/>
            <ac:grpSpMk id="147" creationId="{23E25DB5-52C9-426C-BA1B-D80482B7DEE2}"/>
          </ac:grpSpMkLst>
        </pc:grpChg>
        <pc:grpChg chg="add del mod">
          <ac:chgData name="Olars Björn" userId="1c81218a-21ec-413f-8dc1-a8bd0b85f8ba" providerId="ADAL" clId="{23B7052A-A97B-4FF0-9B00-E453F33B9B85}" dt="2022-05-19T13:59:09.121" v="4513" actId="478"/>
          <ac:grpSpMkLst>
            <pc:docMk/>
            <pc:sldMk cId="3047865759" sldId="450"/>
            <ac:grpSpMk id="152" creationId="{D014DD87-22E0-4DCD-BEB2-0167EAD2AC0A}"/>
          </ac:grpSpMkLst>
        </pc:grpChg>
        <pc:grpChg chg="add del mod">
          <ac:chgData name="Olars Björn" userId="1c81218a-21ec-413f-8dc1-a8bd0b85f8ba" providerId="ADAL" clId="{23B7052A-A97B-4FF0-9B00-E453F33B9B85}" dt="2022-05-19T13:59:09.121" v="4513" actId="478"/>
          <ac:grpSpMkLst>
            <pc:docMk/>
            <pc:sldMk cId="3047865759" sldId="450"/>
            <ac:grpSpMk id="157" creationId="{42128AC5-9CA8-44DA-93AA-DFFB668B0673}"/>
          </ac:grpSpMkLst>
        </pc:grpChg>
        <pc:grpChg chg="add del mod">
          <ac:chgData name="Olars Björn" userId="1c81218a-21ec-413f-8dc1-a8bd0b85f8ba" providerId="ADAL" clId="{23B7052A-A97B-4FF0-9B00-E453F33B9B85}" dt="2022-05-19T13:59:09.121" v="4513" actId="478"/>
          <ac:grpSpMkLst>
            <pc:docMk/>
            <pc:sldMk cId="3047865759" sldId="450"/>
            <ac:grpSpMk id="162" creationId="{ACCF09E2-F54C-469D-A7AE-324B696BEB79}"/>
          </ac:grpSpMkLst>
        </pc:grpChg>
        <pc:grpChg chg="add del mod">
          <ac:chgData name="Olars Björn" userId="1c81218a-21ec-413f-8dc1-a8bd0b85f8ba" providerId="ADAL" clId="{23B7052A-A97B-4FF0-9B00-E453F33B9B85}" dt="2022-05-19T13:59:09.121" v="4513" actId="478"/>
          <ac:grpSpMkLst>
            <pc:docMk/>
            <pc:sldMk cId="3047865759" sldId="450"/>
            <ac:grpSpMk id="167" creationId="{C7DEBB34-275A-4D8E-8313-280D3677476B}"/>
          </ac:grpSpMkLst>
        </pc:grpChg>
        <pc:grpChg chg="add del mod">
          <ac:chgData name="Olars Björn" userId="1c81218a-21ec-413f-8dc1-a8bd0b85f8ba" providerId="ADAL" clId="{23B7052A-A97B-4FF0-9B00-E453F33B9B85}" dt="2022-05-19T13:59:09.121" v="4513" actId="478"/>
          <ac:grpSpMkLst>
            <pc:docMk/>
            <pc:sldMk cId="3047865759" sldId="450"/>
            <ac:grpSpMk id="172" creationId="{7A111563-A78B-4D1A-8062-29EC299B8349}"/>
          </ac:grpSpMkLst>
        </pc:grpChg>
        <pc:grpChg chg="add del mod">
          <ac:chgData name="Olars Björn" userId="1c81218a-21ec-413f-8dc1-a8bd0b85f8ba" providerId="ADAL" clId="{23B7052A-A97B-4FF0-9B00-E453F33B9B85}" dt="2022-05-19T13:59:09.121" v="4513" actId="478"/>
          <ac:grpSpMkLst>
            <pc:docMk/>
            <pc:sldMk cId="3047865759" sldId="450"/>
            <ac:grpSpMk id="177" creationId="{4F73A2E1-2BF9-4828-A724-EEB5523E6058}"/>
          </ac:grpSpMkLst>
        </pc:grpChg>
        <pc:grpChg chg="add del mod">
          <ac:chgData name="Olars Björn" userId="1c81218a-21ec-413f-8dc1-a8bd0b85f8ba" providerId="ADAL" clId="{23B7052A-A97B-4FF0-9B00-E453F33B9B85}" dt="2022-05-19T13:59:09.121" v="4513" actId="478"/>
          <ac:grpSpMkLst>
            <pc:docMk/>
            <pc:sldMk cId="3047865759" sldId="450"/>
            <ac:grpSpMk id="182" creationId="{3171568D-D350-4760-A146-FC307737717F}"/>
          </ac:grpSpMkLst>
        </pc:grpChg>
        <pc:grpChg chg="add del mod">
          <ac:chgData name="Olars Björn" userId="1c81218a-21ec-413f-8dc1-a8bd0b85f8ba" providerId="ADAL" clId="{23B7052A-A97B-4FF0-9B00-E453F33B9B85}" dt="2022-05-19T13:59:09.121" v="4513" actId="478"/>
          <ac:grpSpMkLst>
            <pc:docMk/>
            <pc:sldMk cId="3047865759" sldId="450"/>
            <ac:grpSpMk id="187" creationId="{B540AA2E-8139-46E4-BC66-BC49EB03C9F2}"/>
          </ac:grpSpMkLst>
        </pc:grpChg>
        <pc:grpChg chg="add del mod">
          <ac:chgData name="Olars Björn" userId="1c81218a-21ec-413f-8dc1-a8bd0b85f8ba" providerId="ADAL" clId="{23B7052A-A97B-4FF0-9B00-E453F33B9B85}" dt="2022-05-19T13:59:09.121" v="4513" actId="478"/>
          <ac:grpSpMkLst>
            <pc:docMk/>
            <pc:sldMk cId="3047865759" sldId="450"/>
            <ac:grpSpMk id="192" creationId="{434C27D3-6964-4D7E-A873-EE4D4F2615F5}"/>
          </ac:grpSpMkLst>
        </pc:grpChg>
        <pc:grpChg chg="add del mod">
          <ac:chgData name="Olars Björn" userId="1c81218a-21ec-413f-8dc1-a8bd0b85f8ba" providerId="ADAL" clId="{23B7052A-A97B-4FF0-9B00-E453F33B9B85}" dt="2022-05-19T13:37:51.320" v="3719" actId="478"/>
          <ac:grpSpMkLst>
            <pc:docMk/>
            <pc:sldMk cId="3047865759" sldId="450"/>
            <ac:grpSpMk id="197" creationId="{6B60F37E-BE71-4F02-B5FF-5A028358039F}"/>
          </ac:grpSpMkLst>
        </pc:grpChg>
        <pc:grpChg chg="add del mod">
          <ac:chgData name="Olars Björn" userId="1c81218a-21ec-413f-8dc1-a8bd0b85f8ba" providerId="ADAL" clId="{23B7052A-A97B-4FF0-9B00-E453F33B9B85}" dt="2022-05-19T13:59:09.121" v="4513" actId="478"/>
          <ac:grpSpMkLst>
            <pc:docMk/>
            <pc:sldMk cId="3047865759" sldId="450"/>
            <ac:grpSpMk id="202" creationId="{2CAA5A54-46FE-41A2-B4A9-9DC108EFBD25}"/>
          </ac:grpSpMkLst>
        </pc:grpChg>
        <pc:grpChg chg="add del mod">
          <ac:chgData name="Olars Björn" userId="1c81218a-21ec-413f-8dc1-a8bd0b85f8ba" providerId="ADAL" clId="{23B7052A-A97B-4FF0-9B00-E453F33B9B85}" dt="2022-05-19T13:59:09.121" v="4513" actId="478"/>
          <ac:grpSpMkLst>
            <pc:docMk/>
            <pc:sldMk cId="3047865759" sldId="450"/>
            <ac:grpSpMk id="207" creationId="{BCC1A42B-6D86-4015-8C6E-53C87C8450E2}"/>
          </ac:grpSpMkLst>
        </pc:grpChg>
        <pc:grpChg chg="add del mod">
          <ac:chgData name="Olars Björn" userId="1c81218a-21ec-413f-8dc1-a8bd0b85f8ba" providerId="ADAL" clId="{23B7052A-A97B-4FF0-9B00-E453F33B9B85}" dt="2022-05-19T13:59:09.121" v="4513" actId="478"/>
          <ac:grpSpMkLst>
            <pc:docMk/>
            <pc:sldMk cId="3047865759" sldId="450"/>
            <ac:grpSpMk id="212" creationId="{B5924CAB-84E9-4C83-B241-857E592314C5}"/>
          </ac:grpSpMkLst>
        </pc:grpChg>
        <pc:grpChg chg="add del mod">
          <ac:chgData name="Olars Björn" userId="1c81218a-21ec-413f-8dc1-a8bd0b85f8ba" providerId="ADAL" clId="{23B7052A-A97B-4FF0-9B00-E453F33B9B85}" dt="2022-05-19T13:59:09.121" v="4513" actId="478"/>
          <ac:grpSpMkLst>
            <pc:docMk/>
            <pc:sldMk cId="3047865759" sldId="450"/>
            <ac:grpSpMk id="217" creationId="{B20454EE-43E5-4487-A8E5-96BB4C6D24C1}"/>
          </ac:grpSpMkLst>
        </pc:grpChg>
        <pc:grpChg chg="add del mod">
          <ac:chgData name="Olars Björn" userId="1c81218a-21ec-413f-8dc1-a8bd0b85f8ba" providerId="ADAL" clId="{23B7052A-A97B-4FF0-9B00-E453F33B9B85}" dt="2022-05-19T13:59:09.121" v="4513" actId="478"/>
          <ac:grpSpMkLst>
            <pc:docMk/>
            <pc:sldMk cId="3047865759" sldId="450"/>
            <ac:grpSpMk id="222" creationId="{E12F2075-1086-41DE-A901-C7B36CEFA7B4}"/>
          </ac:grpSpMkLst>
        </pc:grpChg>
        <pc:grpChg chg="add del mod">
          <ac:chgData name="Olars Björn" userId="1c81218a-21ec-413f-8dc1-a8bd0b85f8ba" providerId="ADAL" clId="{23B7052A-A97B-4FF0-9B00-E453F33B9B85}" dt="2022-05-19T13:59:09.121" v="4513" actId="478"/>
          <ac:grpSpMkLst>
            <pc:docMk/>
            <pc:sldMk cId="3047865759" sldId="450"/>
            <ac:grpSpMk id="227" creationId="{EB3D2379-3914-484C-B934-59663A89407A}"/>
          </ac:grpSpMkLst>
        </pc:grpChg>
        <pc:grpChg chg="add del mod">
          <ac:chgData name="Olars Björn" userId="1c81218a-21ec-413f-8dc1-a8bd0b85f8ba" providerId="ADAL" clId="{23B7052A-A97B-4FF0-9B00-E453F33B9B85}" dt="2022-05-19T13:59:09.121" v="4513" actId="478"/>
          <ac:grpSpMkLst>
            <pc:docMk/>
            <pc:sldMk cId="3047865759" sldId="450"/>
            <ac:grpSpMk id="232" creationId="{867FFB45-095B-4EF4-B5D5-DA64C75667FC}"/>
          </ac:grpSpMkLst>
        </pc:grpChg>
        <pc:grpChg chg="add del mod">
          <ac:chgData name="Olars Björn" userId="1c81218a-21ec-413f-8dc1-a8bd0b85f8ba" providerId="ADAL" clId="{23B7052A-A97B-4FF0-9B00-E453F33B9B85}" dt="2022-05-19T13:59:09.121" v="4513" actId="478"/>
          <ac:grpSpMkLst>
            <pc:docMk/>
            <pc:sldMk cId="3047865759" sldId="450"/>
            <ac:grpSpMk id="237" creationId="{B177A864-80D3-4495-BF73-3FF55166123D}"/>
          </ac:grpSpMkLst>
        </pc:grpChg>
        <pc:grpChg chg="add del mod">
          <ac:chgData name="Olars Björn" userId="1c81218a-21ec-413f-8dc1-a8bd0b85f8ba" providerId="ADAL" clId="{23B7052A-A97B-4FF0-9B00-E453F33B9B85}" dt="2022-05-19T13:59:09.121" v="4513" actId="478"/>
          <ac:grpSpMkLst>
            <pc:docMk/>
            <pc:sldMk cId="3047865759" sldId="450"/>
            <ac:grpSpMk id="242" creationId="{2E4206B7-4586-400A-909F-D696E1E01EC6}"/>
          </ac:grpSpMkLst>
        </pc:grpChg>
        <pc:grpChg chg="add del mod">
          <ac:chgData name="Olars Björn" userId="1c81218a-21ec-413f-8dc1-a8bd0b85f8ba" providerId="ADAL" clId="{23B7052A-A97B-4FF0-9B00-E453F33B9B85}" dt="2022-05-19T13:59:09.121" v="4513" actId="478"/>
          <ac:grpSpMkLst>
            <pc:docMk/>
            <pc:sldMk cId="3047865759" sldId="450"/>
            <ac:grpSpMk id="247" creationId="{C1E7BE93-A5B1-4A53-A792-095CA7F0834B}"/>
          </ac:grpSpMkLst>
        </pc:grpChg>
        <pc:grpChg chg="add del mod">
          <ac:chgData name="Olars Björn" userId="1c81218a-21ec-413f-8dc1-a8bd0b85f8ba" providerId="ADAL" clId="{23B7052A-A97B-4FF0-9B00-E453F33B9B85}" dt="2022-05-19T13:59:09.121" v="4513" actId="478"/>
          <ac:grpSpMkLst>
            <pc:docMk/>
            <pc:sldMk cId="3047865759" sldId="450"/>
            <ac:grpSpMk id="252" creationId="{196CD2C7-1863-4087-AFB3-D5DB90F7C86F}"/>
          </ac:grpSpMkLst>
        </pc:grpChg>
        <pc:grpChg chg="add del mod">
          <ac:chgData name="Olars Björn" userId="1c81218a-21ec-413f-8dc1-a8bd0b85f8ba" providerId="ADAL" clId="{23B7052A-A97B-4FF0-9B00-E453F33B9B85}" dt="2022-05-19T13:59:09.121" v="4513" actId="478"/>
          <ac:grpSpMkLst>
            <pc:docMk/>
            <pc:sldMk cId="3047865759" sldId="450"/>
            <ac:grpSpMk id="257" creationId="{56B793DF-7617-4A6F-BBE1-212EDB3F4B4B}"/>
          </ac:grpSpMkLst>
        </pc:grpChg>
        <pc:grpChg chg="add del mod">
          <ac:chgData name="Olars Björn" userId="1c81218a-21ec-413f-8dc1-a8bd0b85f8ba" providerId="ADAL" clId="{23B7052A-A97B-4FF0-9B00-E453F33B9B85}" dt="2022-05-19T13:59:09.121" v="4513" actId="478"/>
          <ac:grpSpMkLst>
            <pc:docMk/>
            <pc:sldMk cId="3047865759" sldId="450"/>
            <ac:grpSpMk id="262" creationId="{888620BD-0284-4F76-840E-903C7F34B625}"/>
          </ac:grpSpMkLst>
        </pc:grpChg>
        <pc:grpChg chg="add del mod">
          <ac:chgData name="Olars Björn" userId="1c81218a-21ec-413f-8dc1-a8bd0b85f8ba" providerId="ADAL" clId="{23B7052A-A97B-4FF0-9B00-E453F33B9B85}" dt="2022-05-19T13:59:09.121" v="4513" actId="478"/>
          <ac:grpSpMkLst>
            <pc:docMk/>
            <pc:sldMk cId="3047865759" sldId="450"/>
            <ac:grpSpMk id="267" creationId="{269C725D-0121-4D0B-B83A-41B12502F5A9}"/>
          </ac:grpSpMkLst>
        </pc:grpChg>
        <pc:grpChg chg="add del mod">
          <ac:chgData name="Olars Björn" userId="1c81218a-21ec-413f-8dc1-a8bd0b85f8ba" providerId="ADAL" clId="{23B7052A-A97B-4FF0-9B00-E453F33B9B85}" dt="2022-05-19T13:59:09.121" v="4513" actId="478"/>
          <ac:grpSpMkLst>
            <pc:docMk/>
            <pc:sldMk cId="3047865759" sldId="450"/>
            <ac:grpSpMk id="272" creationId="{9E91EADF-61B3-4A79-B63F-B89707832FB8}"/>
          </ac:grpSpMkLst>
        </pc:grpChg>
        <pc:grpChg chg="add del mod">
          <ac:chgData name="Olars Björn" userId="1c81218a-21ec-413f-8dc1-a8bd0b85f8ba" providerId="ADAL" clId="{23B7052A-A97B-4FF0-9B00-E453F33B9B85}" dt="2022-05-19T13:59:09.121" v="4513" actId="478"/>
          <ac:grpSpMkLst>
            <pc:docMk/>
            <pc:sldMk cId="3047865759" sldId="450"/>
            <ac:grpSpMk id="277" creationId="{B218DDB0-A154-44C8-8F34-57BF86E56F18}"/>
          </ac:grpSpMkLst>
        </pc:grpChg>
        <pc:grpChg chg="add del mod">
          <ac:chgData name="Olars Björn" userId="1c81218a-21ec-413f-8dc1-a8bd0b85f8ba" providerId="ADAL" clId="{23B7052A-A97B-4FF0-9B00-E453F33B9B85}" dt="2022-05-19T13:59:09.121" v="4513" actId="478"/>
          <ac:grpSpMkLst>
            <pc:docMk/>
            <pc:sldMk cId="3047865759" sldId="450"/>
            <ac:grpSpMk id="282" creationId="{E1151C67-0798-4FDC-9767-CA395A15CAB3}"/>
          </ac:grpSpMkLst>
        </pc:grpChg>
      </pc:sldChg>
      <pc:sldChg chg="addSp delSp modSp new del mod">
        <pc:chgData name="Olars Björn" userId="1c81218a-21ec-413f-8dc1-a8bd0b85f8ba" providerId="ADAL" clId="{23B7052A-A97B-4FF0-9B00-E453F33B9B85}" dt="2022-05-19T13:22:32.490" v="2212" actId="47"/>
        <pc:sldMkLst>
          <pc:docMk/>
          <pc:sldMk cId="3386893537" sldId="450"/>
        </pc:sldMkLst>
        <pc:spChg chg="mod">
          <ac:chgData name="Olars Björn" userId="1c81218a-21ec-413f-8dc1-a8bd0b85f8ba" providerId="ADAL" clId="{23B7052A-A97B-4FF0-9B00-E453F33B9B85}" dt="2022-05-19T10:19:21.933" v="1541" actId="20577"/>
          <ac:spMkLst>
            <pc:docMk/>
            <pc:sldMk cId="3386893537" sldId="450"/>
            <ac:spMk id="2" creationId="{5518A13D-0FB9-4764-9B04-46295E53F801}"/>
          </ac:spMkLst>
        </pc:spChg>
        <pc:spChg chg="del">
          <ac:chgData name="Olars Björn" userId="1c81218a-21ec-413f-8dc1-a8bd0b85f8ba" providerId="ADAL" clId="{23B7052A-A97B-4FF0-9B00-E453F33B9B85}" dt="2022-05-19T10:19:14.741" v="1510" actId="478"/>
          <ac:spMkLst>
            <pc:docMk/>
            <pc:sldMk cId="3386893537" sldId="450"/>
            <ac:spMk id="3" creationId="{BA7263C8-9E64-4912-B0BC-45E75C48BDE6}"/>
          </ac:spMkLst>
        </pc:spChg>
        <pc:spChg chg="add mod">
          <ac:chgData name="Olars Björn" userId="1c81218a-21ec-413f-8dc1-a8bd0b85f8ba" providerId="ADAL" clId="{23B7052A-A97B-4FF0-9B00-E453F33B9B85}" dt="2022-05-19T10:19:30.576" v="1544" actId="1076"/>
          <ac:spMkLst>
            <pc:docMk/>
            <pc:sldMk cId="3386893537" sldId="450"/>
            <ac:spMk id="6" creationId="{42A4601A-3700-46D1-A9D5-653DAE1E8425}"/>
          </ac:spMkLst>
        </pc:spChg>
        <pc:picChg chg="add del mod">
          <ac:chgData name="Olars Björn" userId="1c81218a-21ec-413f-8dc1-a8bd0b85f8ba" providerId="ADAL" clId="{23B7052A-A97B-4FF0-9B00-E453F33B9B85}" dt="2022-05-19T11:59:59.863" v="1657" actId="478"/>
          <ac:picMkLst>
            <pc:docMk/>
            <pc:sldMk cId="3386893537" sldId="450"/>
            <ac:picMk id="8" creationId="{20023669-0714-4523-A358-E6C51A5311BD}"/>
          </ac:picMkLst>
        </pc:picChg>
        <pc:picChg chg="add mod">
          <ac:chgData name="Olars Björn" userId="1c81218a-21ec-413f-8dc1-a8bd0b85f8ba" providerId="ADAL" clId="{23B7052A-A97B-4FF0-9B00-E453F33B9B85}" dt="2022-05-19T12:00:10.646" v="1661" actId="1076"/>
          <ac:picMkLst>
            <pc:docMk/>
            <pc:sldMk cId="3386893537" sldId="450"/>
            <ac:picMk id="10" creationId="{FAB04E72-2BF1-4883-B922-CF37129F7840}"/>
          </ac:picMkLst>
        </pc:picChg>
      </pc:sldChg>
    </pc:docChg>
  </pc:docChgLst>
  <pc:docChgLst>
    <pc:chgData name="Jonsson Åsa" userId="S::asa.jonsson@inera.se::e7c157ac-c4f4-446a-aea7-2d9507f60b0e" providerId="AD" clId="Web-{1631FFAC-7FF9-41E6-B222-C01D0B337A92}"/>
    <pc:docChg chg="addSld modSld">
      <pc:chgData name="Jonsson Åsa" userId="S::asa.jonsson@inera.se::e7c157ac-c4f4-446a-aea7-2d9507f60b0e" providerId="AD" clId="Web-{1631FFAC-7FF9-41E6-B222-C01D0B337A92}" dt="2022-01-26T12:42:14.777" v="195" actId="20577"/>
      <pc:docMkLst>
        <pc:docMk/>
      </pc:docMkLst>
      <pc:sldChg chg="modSp">
        <pc:chgData name="Jonsson Åsa" userId="S::asa.jonsson@inera.se::e7c157ac-c4f4-446a-aea7-2d9507f60b0e" providerId="AD" clId="Web-{1631FFAC-7FF9-41E6-B222-C01D0B337A92}" dt="2022-01-26T12:39:33.367" v="39" actId="20577"/>
        <pc:sldMkLst>
          <pc:docMk/>
          <pc:sldMk cId="1079766907" sldId="353"/>
        </pc:sldMkLst>
        <pc:spChg chg="mod">
          <ac:chgData name="Jonsson Åsa" userId="S::asa.jonsson@inera.se::e7c157ac-c4f4-446a-aea7-2d9507f60b0e" providerId="AD" clId="Web-{1631FFAC-7FF9-41E6-B222-C01D0B337A92}" dt="2022-01-26T12:39:33.367" v="39" actId="20577"/>
          <ac:spMkLst>
            <pc:docMk/>
            <pc:sldMk cId="1079766907" sldId="353"/>
            <ac:spMk id="3" creationId="{6C1B4C16-DD8B-4F29-BBCD-BE86B33D401F}"/>
          </ac:spMkLst>
        </pc:spChg>
      </pc:sldChg>
      <pc:sldChg chg="modSp new">
        <pc:chgData name="Jonsson Åsa" userId="S::asa.jonsson@inera.se::e7c157ac-c4f4-446a-aea7-2d9507f60b0e" providerId="AD" clId="Web-{1631FFAC-7FF9-41E6-B222-C01D0B337A92}" dt="2022-01-26T12:42:14.777" v="195" actId="20577"/>
        <pc:sldMkLst>
          <pc:docMk/>
          <pc:sldMk cId="2581502841" sldId="355"/>
        </pc:sldMkLst>
        <pc:spChg chg="mod">
          <ac:chgData name="Jonsson Åsa" userId="S::asa.jonsson@inera.se::e7c157ac-c4f4-446a-aea7-2d9507f60b0e" providerId="AD" clId="Web-{1631FFAC-7FF9-41E6-B222-C01D0B337A92}" dt="2022-01-26T12:40:56.151" v="63" actId="20577"/>
          <ac:spMkLst>
            <pc:docMk/>
            <pc:sldMk cId="2581502841" sldId="355"/>
            <ac:spMk id="2" creationId="{446D0C2B-F00A-408A-A161-9D58F3F5139E}"/>
          </ac:spMkLst>
        </pc:spChg>
        <pc:spChg chg="mod">
          <ac:chgData name="Jonsson Åsa" userId="S::asa.jonsson@inera.se::e7c157ac-c4f4-446a-aea7-2d9507f60b0e" providerId="AD" clId="Web-{1631FFAC-7FF9-41E6-B222-C01D0B337A92}" dt="2022-01-26T12:42:14.777" v="195" actId="20577"/>
          <ac:spMkLst>
            <pc:docMk/>
            <pc:sldMk cId="2581502841" sldId="355"/>
            <ac:spMk id="3" creationId="{F192FB5F-2468-43A1-A64E-C2C3D1796F92}"/>
          </ac:spMkLst>
        </pc:spChg>
      </pc:sldChg>
    </pc:docChg>
  </pc:docChgLst>
  <pc:docChgLst>
    <pc:chgData name="Olars Björn" userId="S::bjorn.olars@inera.se::1c81218a-21ec-413f-8dc1-a8bd0b85f8ba" providerId="AD" clId="Web-{359FB6C7-40E6-4D51-9415-8C6434942393}"/>
    <pc:docChg chg="modSld">
      <pc:chgData name="Olars Björn" userId="S::bjorn.olars@inera.se::1c81218a-21ec-413f-8dc1-a8bd0b85f8ba" providerId="AD" clId="Web-{359FB6C7-40E6-4D51-9415-8C6434942393}" dt="2022-05-20T07:32:37.866" v="87" actId="20577"/>
      <pc:docMkLst>
        <pc:docMk/>
      </pc:docMkLst>
      <pc:sldChg chg="addSp modSp">
        <pc:chgData name="Olars Björn" userId="S::bjorn.olars@inera.se::1c81218a-21ec-413f-8dc1-a8bd0b85f8ba" providerId="AD" clId="Web-{359FB6C7-40E6-4D51-9415-8C6434942393}" dt="2022-05-20T07:32:37.866" v="87" actId="20577"/>
        <pc:sldMkLst>
          <pc:docMk/>
          <pc:sldMk cId="3047865759" sldId="450"/>
        </pc:sldMkLst>
        <pc:spChg chg="mod">
          <ac:chgData name="Olars Björn" userId="S::bjorn.olars@inera.se::1c81218a-21ec-413f-8dc1-a8bd0b85f8ba" providerId="AD" clId="Web-{359FB6C7-40E6-4D51-9415-8C6434942393}" dt="2022-05-20T07:14:28.449" v="6" actId="1076"/>
          <ac:spMkLst>
            <pc:docMk/>
            <pc:sldMk cId="3047865759" sldId="450"/>
            <ac:spMk id="6" creationId="{DA535E35-64C2-45C2-BC4B-6B2A9713ADB8}"/>
          </ac:spMkLst>
        </pc:spChg>
        <pc:spChg chg="add mod">
          <ac:chgData name="Olars Björn" userId="S::bjorn.olars@inera.se::1c81218a-21ec-413f-8dc1-a8bd0b85f8ba" providerId="AD" clId="Web-{359FB6C7-40E6-4D51-9415-8C6434942393}" dt="2022-05-20T07:32:37.866" v="87" actId="20577"/>
          <ac:spMkLst>
            <pc:docMk/>
            <pc:sldMk cId="3047865759" sldId="450"/>
            <ac:spMk id="7" creationId="{E889AAA5-0C45-E36F-F355-3F12C78158B4}"/>
          </ac:spMkLst>
        </pc:spChg>
        <pc:spChg chg="mod">
          <ac:chgData name="Olars Björn" userId="S::bjorn.olars@inera.se::1c81218a-21ec-413f-8dc1-a8bd0b85f8ba" providerId="AD" clId="Web-{359FB6C7-40E6-4D51-9415-8C6434942393}" dt="2022-05-20T07:14:28.465" v="7" actId="1076"/>
          <ac:spMkLst>
            <pc:docMk/>
            <pc:sldMk cId="3047865759" sldId="450"/>
            <ac:spMk id="287" creationId="{50469693-808F-44AD-A7E8-CB69A68013AC}"/>
          </ac:spMkLst>
        </pc:spChg>
        <pc:picChg chg="add mod">
          <ac:chgData name="Olars Björn" userId="S::bjorn.olars@inera.se::1c81218a-21ec-413f-8dc1-a8bd0b85f8ba" providerId="AD" clId="Web-{359FB6C7-40E6-4D51-9415-8C6434942393}" dt="2022-05-20T07:15:46.842" v="10" actId="1076"/>
          <ac:picMkLst>
            <pc:docMk/>
            <pc:sldMk cId="3047865759" sldId="450"/>
            <ac:picMk id="2" creationId="{0CE7C0AE-C8B4-43BB-4F0A-218CA1895B66}"/>
          </ac:picMkLst>
        </pc:picChg>
      </pc:sldChg>
    </pc:docChg>
  </pc:docChgLst>
  <pc:docChgLst>
    <pc:chgData name="Nordqvist Anne-Louise" userId="298fd2ba-5879-4078-9dd0-cb16eef6a860" providerId="ADAL" clId="{FCE9F53D-A95F-40E9-94E0-DC892D68AEDA}"/>
    <pc:docChg chg="undo custSel addSld delSld modSld">
      <pc:chgData name="Nordqvist Anne-Louise" userId="298fd2ba-5879-4078-9dd0-cb16eef6a860" providerId="ADAL" clId="{FCE9F53D-A95F-40E9-94E0-DC892D68AEDA}" dt="2022-01-26T13:59:39.431" v="1352" actId="1076"/>
      <pc:docMkLst>
        <pc:docMk/>
      </pc:docMkLst>
      <pc:sldChg chg="modSp mod">
        <pc:chgData name="Nordqvist Anne-Louise" userId="298fd2ba-5879-4078-9dd0-cb16eef6a860" providerId="ADAL" clId="{FCE9F53D-A95F-40E9-94E0-DC892D68AEDA}" dt="2022-01-26T12:42:24.114" v="268" actId="6549"/>
        <pc:sldMkLst>
          <pc:docMk/>
          <pc:sldMk cId="1371906061" sldId="354"/>
        </pc:sldMkLst>
        <pc:spChg chg="mod">
          <ac:chgData name="Nordqvist Anne-Louise" userId="298fd2ba-5879-4078-9dd0-cb16eef6a860" providerId="ADAL" clId="{FCE9F53D-A95F-40E9-94E0-DC892D68AEDA}" dt="2022-01-26T12:38:21.984" v="10" actId="20577"/>
          <ac:spMkLst>
            <pc:docMk/>
            <pc:sldMk cId="1371906061" sldId="354"/>
            <ac:spMk id="2" creationId="{EB6CA5B0-6D2F-4383-B3E8-886F5B731907}"/>
          </ac:spMkLst>
        </pc:spChg>
        <pc:spChg chg="mod">
          <ac:chgData name="Nordqvist Anne-Louise" userId="298fd2ba-5879-4078-9dd0-cb16eef6a860" providerId="ADAL" clId="{FCE9F53D-A95F-40E9-94E0-DC892D68AEDA}" dt="2022-01-26T12:42:24.114" v="268" actId="6549"/>
          <ac:spMkLst>
            <pc:docMk/>
            <pc:sldMk cId="1371906061" sldId="354"/>
            <ac:spMk id="3" creationId="{6C1B4C16-DD8B-4F29-BBCD-BE86B33D401F}"/>
          </ac:spMkLst>
        </pc:spChg>
      </pc:sldChg>
      <pc:sldChg chg="addSp delSp modSp mod">
        <pc:chgData name="Nordqvist Anne-Louise" userId="298fd2ba-5879-4078-9dd0-cb16eef6a860" providerId="ADAL" clId="{FCE9F53D-A95F-40E9-94E0-DC892D68AEDA}" dt="2022-01-26T13:59:39.431" v="1352" actId="1076"/>
        <pc:sldMkLst>
          <pc:docMk/>
          <pc:sldMk cId="1852366786" sldId="356"/>
        </pc:sldMkLst>
        <pc:spChg chg="mod">
          <ac:chgData name="Nordqvist Anne-Louise" userId="298fd2ba-5879-4078-9dd0-cb16eef6a860" providerId="ADAL" clId="{FCE9F53D-A95F-40E9-94E0-DC892D68AEDA}" dt="2022-01-26T12:47:00.735" v="283" actId="20577"/>
          <ac:spMkLst>
            <pc:docMk/>
            <pc:sldMk cId="1852366786" sldId="356"/>
            <ac:spMk id="2" creationId="{EB6CA5B0-6D2F-4383-B3E8-886F5B731907}"/>
          </ac:spMkLst>
        </pc:spChg>
        <pc:spChg chg="mod">
          <ac:chgData name="Nordqvist Anne-Louise" userId="298fd2ba-5879-4078-9dd0-cb16eef6a860" providerId="ADAL" clId="{FCE9F53D-A95F-40E9-94E0-DC892D68AEDA}" dt="2022-01-26T13:59:39.431" v="1352" actId="1076"/>
          <ac:spMkLst>
            <pc:docMk/>
            <pc:sldMk cId="1852366786" sldId="356"/>
            <ac:spMk id="3" creationId="{6C1B4C16-DD8B-4F29-BBCD-BE86B33D401F}"/>
          </ac:spMkLst>
        </pc:spChg>
        <pc:spChg chg="add del">
          <ac:chgData name="Nordqvist Anne-Louise" userId="298fd2ba-5879-4078-9dd0-cb16eef6a860" providerId="ADAL" clId="{FCE9F53D-A95F-40E9-94E0-DC892D68AEDA}" dt="2022-01-26T12:53:13.074" v="606" actId="22"/>
          <ac:spMkLst>
            <pc:docMk/>
            <pc:sldMk cId="1852366786" sldId="356"/>
            <ac:spMk id="7" creationId="{F6942A72-139C-42C6-A505-4C1379BF5FE1}"/>
          </ac:spMkLst>
        </pc:spChg>
      </pc:sldChg>
      <pc:sldChg chg="addSp delSp modSp add mod">
        <pc:chgData name="Nordqvist Anne-Louise" userId="298fd2ba-5879-4078-9dd0-cb16eef6a860" providerId="ADAL" clId="{FCE9F53D-A95F-40E9-94E0-DC892D68AEDA}" dt="2022-01-26T13:49:24.328" v="1045" actId="1076"/>
        <pc:sldMkLst>
          <pc:docMk/>
          <pc:sldMk cId="3101166326" sldId="357"/>
        </pc:sldMkLst>
        <pc:spChg chg="del mod">
          <ac:chgData name="Nordqvist Anne-Louise" userId="298fd2ba-5879-4078-9dd0-cb16eef6a860" providerId="ADAL" clId="{FCE9F53D-A95F-40E9-94E0-DC892D68AEDA}" dt="2022-01-26T12:55:33.699" v="609" actId="22"/>
          <ac:spMkLst>
            <pc:docMk/>
            <pc:sldMk cId="3101166326" sldId="357"/>
            <ac:spMk id="3" creationId="{6C1B4C16-DD8B-4F29-BBCD-BE86B33D401F}"/>
          </ac:spMkLst>
        </pc:spChg>
        <pc:spChg chg="add mod">
          <ac:chgData name="Nordqvist Anne-Louise" userId="298fd2ba-5879-4078-9dd0-cb16eef6a860" providerId="ADAL" clId="{FCE9F53D-A95F-40E9-94E0-DC892D68AEDA}" dt="2022-01-26T13:48:44.146" v="1044" actId="20577"/>
          <ac:spMkLst>
            <pc:docMk/>
            <pc:sldMk cId="3101166326" sldId="357"/>
            <ac:spMk id="3" creationId="{FD1B3562-30F7-4CDD-83B2-4B71E0230269}"/>
          </ac:spMkLst>
        </pc:spChg>
        <pc:picChg chg="add mod ord">
          <ac:chgData name="Nordqvist Anne-Louise" userId="298fd2ba-5879-4078-9dd0-cb16eef6a860" providerId="ADAL" clId="{FCE9F53D-A95F-40E9-94E0-DC892D68AEDA}" dt="2022-01-26T13:49:24.328" v="1045" actId="1076"/>
          <ac:picMkLst>
            <pc:docMk/>
            <pc:sldMk cId="3101166326" sldId="357"/>
            <ac:picMk id="7" creationId="{3D0D6E68-4DBF-4B4C-839C-E6EB43CEC826}"/>
          </ac:picMkLst>
        </pc:picChg>
        <pc:picChg chg="add del">
          <ac:chgData name="Nordqvist Anne-Louise" userId="298fd2ba-5879-4078-9dd0-cb16eef6a860" providerId="ADAL" clId="{FCE9F53D-A95F-40E9-94E0-DC892D68AEDA}" dt="2022-01-26T13:10:23.379" v="612" actId="22"/>
          <ac:picMkLst>
            <pc:docMk/>
            <pc:sldMk cId="3101166326" sldId="357"/>
            <ac:picMk id="9" creationId="{980E282B-92B9-4175-B846-F5AFE641DA43}"/>
          </ac:picMkLst>
        </pc:picChg>
      </pc:sldChg>
      <pc:sldChg chg="addSp delSp modSp add mod">
        <pc:chgData name="Nordqvist Anne-Louise" userId="298fd2ba-5879-4078-9dd0-cb16eef6a860" providerId="ADAL" clId="{FCE9F53D-A95F-40E9-94E0-DC892D68AEDA}" dt="2022-01-26T13:53:04.408" v="1351" actId="14100"/>
        <pc:sldMkLst>
          <pc:docMk/>
          <pc:sldMk cId="2598536595" sldId="358"/>
        </pc:sldMkLst>
        <pc:spChg chg="add mod">
          <ac:chgData name="Nordqvist Anne-Louise" userId="298fd2ba-5879-4078-9dd0-cb16eef6a860" providerId="ADAL" clId="{FCE9F53D-A95F-40E9-94E0-DC892D68AEDA}" dt="2022-01-26T13:50:56.849" v="1274" actId="20577"/>
          <ac:spMkLst>
            <pc:docMk/>
            <pc:sldMk cId="2598536595" sldId="358"/>
            <ac:spMk id="6" creationId="{4980BB5A-DFAA-4F3F-93CA-DC2BAAD3A0BB}"/>
          </ac:spMkLst>
        </pc:spChg>
        <pc:spChg chg="add del mod">
          <ac:chgData name="Nordqvist Anne-Louise" userId="298fd2ba-5879-4078-9dd0-cb16eef6a860" providerId="ADAL" clId="{FCE9F53D-A95F-40E9-94E0-DC892D68AEDA}" dt="2022-01-26T13:52:48.308" v="1346" actId="478"/>
          <ac:spMkLst>
            <pc:docMk/>
            <pc:sldMk cId="2598536595" sldId="358"/>
            <ac:spMk id="8" creationId="{30FF9ED3-5C7A-4C67-9B71-860754DD7D78}"/>
          </ac:spMkLst>
        </pc:spChg>
        <pc:picChg chg="add mod">
          <ac:chgData name="Nordqvist Anne-Louise" userId="298fd2ba-5879-4078-9dd0-cb16eef6a860" providerId="ADAL" clId="{FCE9F53D-A95F-40E9-94E0-DC892D68AEDA}" dt="2022-01-26T13:53:04.408" v="1351" actId="14100"/>
          <ac:picMkLst>
            <pc:docMk/>
            <pc:sldMk cId="2598536595" sldId="358"/>
            <ac:picMk id="7" creationId="{213360F3-38A0-42D5-AE41-3F6E242ED5EB}"/>
          </ac:picMkLst>
        </pc:picChg>
        <pc:picChg chg="del">
          <ac:chgData name="Nordqvist Anne-Louise" userId="298fd2ba-5879-4078-9dd0-cb16eef6a860" providerId="ADAL" clId="{FCE9F53D-A95F-40E9-94E0-DC892D68AEDA}" dt="2022-01-26T13:10:42.455" v="614" actId="478"/>
          <ac:picMkLst>
            <pc:docMk/>
            <pc:sldMk cId="2598536595" sldId="358"/>
            <ac:picMk id="7" creationId="{3D0D6E68-4DBF-4B4C-839C-E6EB43CEC826}"/>
          </ac:picMkLst>
        </pc:picChg>
      </pc:sldChg>
      <pc:sldChg chg="new del">
        <pc:chgData name="Nordqvist Anne-Louise" userId="298fd2ba-5879-4078-9dd0-cb16eef6a860" providerId="ADAL" clId="{FCE9F53D-A95F-40E9-94E0-DC892D68AEDA}" dt="2022-01-26T13:51:05.103" v="1276" actId="680"/>
        <pc:sldMkLst>
          <pc:docMk/>
          <pc:sldMk cId="2076248867" sldId="359"/>
        </pc:sldMkLst>
      </pc:sldChg>
    </pc:docChg>
  </pc:docChgLst>
  <pc:docChgLst>
    <pc:chgData name="Axelsson Jenny" userId="S::jenny.axelsson@inera.se::35153831-a041-4e19-963c-026d50be729b" providerId="AD" clId="Web-{F551A008-5E25-4D76-ADBF-13E903666013}"/>
    <pc:docChg chg="sldOrd">
      <pc:chgData name="Axelsson Jenny" userId="S::jenny.axelsson@inera.se::35153831-a041-4e19-963c-026d50be729b" providerId="AD" clId="Web-{F551A008-5E25-4D76-ADBF-13E903666013}" dt="2022-01-26T14:06:48.835" v="0"/>
      <pc:docMkLst>
        <pc:docMk/>
      </pc:docMkLst>
      <pc:sldChg chg="ord">
        <pc:chgData name="Axelsson Jenny" userId="S::jenny.axelsson@inera.se::35153831-a041-4e19-963c-026d50be729b" providerId="AD" clId="Web-{F551A008-5E25-4D76-ADBF-13E903666013}" dt="2022-01-26T14:06:48.835" v="0"/>
        <pc:sldMkLst>
          <pc:docMk/>
          <pc:sldMk cId="1287501561" sldId="350"/>
        </pc:sldMkLst>
      </pc:sldChg>
    </pc:docChg>
  </pc:docChgLst>
  <pc:docChgLst>
    <pc:chgData name="Axelsson Jenny" userId="S::jenny.axelsson@inera.se::35153831-a041-4e19-963c-026d50be729b" providerId="AD" clId="Web-{C2C655BF-FE61-4CA6-9387-D7E7E18C9E48}"/>
    <pc:docChg chg="modSld">
      <pc:chgData name="Axelsson Jenny" userId="S::jenny.axelsson@inera.se::35153831-a041-4e19-963c-026d50be729b" providerId="AD" clId="Web-{C2C655BF-FE61-4CA6-9387-D7E7E18C9E48}" dt="2022-01-18T15:44:04.895" v="5" actId="20577"/>
      <pc:docMkLst>
        <pc:docMk/>
      </pc:docMkLst>
      <pc:sldChg chg="modSp">
        <pc:chgData name="Axelsson Jenny" userId="S::jenny.axelsson@inera.se::35153831-a041-4e19-963c-026d50be729b" providerId="AD" clId="Web-{C2C655BF-FE61-4CA6-9387-D7E7E18C9E48}" dt="2022-01-18T15:44:04.895" v="5" actId="20577"/>
        <pc:sldMkLst>
          <pc:docMk/>
          <pc:sldMk cId="3738514320" sldId="327"/>
        </pc:sldMkLst>
        <pc:spChg chg="mod">
          <ac:chgData name="Axelsson Jenny" userId="S::jenny.axelsson@inera.se::35153831-a041-4e19-963c-026d50be729b" providerId="AD" clId="Web-{C2C655BF-FE61-4CA6-9387-D7E7E18C9E48}" dt="2022-01-18T15:43:45.847" v="2" actId="20577"/>
          <ac:spMkLst>
            <pc:docMk/>
            <pc:sldMk cId="3738514320" sldId="327"/>
            <ac:spMk id="2" creationId="{0CFCCCF5-BAA9-4E4C-96B6-6829CE835F12}"/>
          </ac:spMkLst>
        </pc:spChg>
        <pc:spChg chg="mod">
          <ac:chgData name="Axelsson Jenny" userId="S::jenny.axelsson@inera.se::35153831-a041-4e19-963c-026d50be729b" providerId="AD" clId="Web-{C2C655BF-FE61-4CA6-9387-D7E7E18C9E48}" dt="2022-01-18T15:44:04.895" v="5" actId="20577"/>
          <ac:spMkLst>
            <pc:docMk/>
            <pc:sldMk cId="3738514320" sldId="327"/>
            <ac:spMk id="5" creationId="{BC5C837C-7D53-4E50-BDC1-752E6FCF03A0}"/>
          </ac:spMkLst>
        </pc:spChg>
      </pc:sldChg>
    </pc:docChg>
  </pc:docChgLst>
  <pc:docChgLst>
    <pc:chgData name="Axelsson Jenny" userId="35153831-a041-4e19-963c-026d50be729b" providerId="ADAL" clId="{FD3FC6E3-2886-4C21-BEF3-E1C60B156A1D}"/>
    <pc:docChg chg="modSld">
      <pc:chgData name="Axelsson Jenny" userId="35153831-a041-4e19-963c-026d50be729b" providerId="ADAL" clId="{FD3FC6E3-2886-4C21-BEF3-E1C60B156A1D}" dt="2022-01-28T12:16:41.335" v="104" actId="1076"/>
      <pc:docMkLst>
        <pc:docMk/>
      </pc:docMkLst>
      <pc:sldChg chg="modSp mod">
        <pc:chgData name="Axelsson Jenny" userId="35153831-a041-4e19-963c-026d50be729b" providerId="ADAL" clId="{FD3FC6E3-2886-4C21-BEF3-E1C60B156A1D}" dt="2022-01-28T12:16:41.335" v="104" actId="1076"/>
        <pc:sldMkLst>
          <pc:docMk/>
          <pc:sldMk cId="3360954613" sldId="331"/>
        </pc:sldMkLst>
        <pc:picChg chg="mod">
          <ac:chgData name="Axelsson Jenny" userId="35153831-a041-4e19-963c-026d50be729b" providerId="ADAL" clId="{FD3FC6E3-2886-4C21-BEF3-E1C60B156A1D}" dt="2022-01-28T12:16:41.335" v="104" actId="1076"/>
          <ac:picMkLst>
            <pc:docMk/>
            <pc:sldMk cId="3360954613" sldId="331"/>
            <ac:picMk id="12" creationId="{E94F5483-BB19-4147-AC6C-C268B5932EC2}"/>
          </ac:picMkLst>
        </pc:picChg>
      </pc:sldChg>
      <pc:sldChg chg="modSp mod">
        <pc:chgData name="Axelsson Jenny" userId="35153831-a041-4e19-963c-026d50be729b" providerId="ADAL" clId="{FD3FC6E3-2886-4C21-BEF3-E1C60B156A1D}" dt="2022-01-28T12:10:27.077" v="31" actId="20577"/>
        <pc:sldMkLst>
          <pc:docMk/>
          <pc:sldMk cId="1287501561" sldId="350"/>
        </pc:sldMkLst>
        <pc:spChg chg="mod">
          <ac:chgData name="Axelsson Jenny" userId="35153831-a041-4e19-963c-026d50be729b" providerId="ADAL" clId="{FD3FC6E3-2886-4C21-BEF3-E1C60B156A1D}" dt="2022-01-28T12:10:27.077" v="31" actId="20577"/>
          <ac:spMkLst>
            <pc:docMk/>
            <pc:sldMk cId="1287501561" sldId="350"/>
            <ac:spMk id="3" creationId="{81FABEE2-D3D3-4FC1-A4AD-5357E54D6AF6}"/>
          </ac:spMkLst>
        </pc:spChg>
      </pc:sldChg>
      <pc:sldChg chg="modSp mod">
        <pc:chgData name="Axelsson Jenny" userId="35153831-a041-4e19-963c-026d50be729b" providerId="ADAL" clId="{FD3FC6E3-2886-4C21-BEF3-E1C60B156A1D}" dt="2022-01-28T12:15:18.585" v="103" actId="20577"/>
        <pc:sldMkLst>
          <pc:docMk/>
          <pc:sldMk cId="2992425971" sldId="351"/>
        </pc:sldMkLst>
        <pc:spChg chg="mod">
          <ac:chgData name="Axelsson Jenny" userId="35153831-a041-4e19-963c-026d50be729b" providerId="ADAL" clId="{FD3FC6E3-2886-4C21-BEF3-E1C60B156A1D}" dt="2022-01-28T12:15:18.585" v="103" actId="20577"/>
          <ac:spMkLst>
            <pc:docMk/>
            <pc:sldMk cId="2992425971" sldId="351"/>
            <ac:spMk id="3" creationId="{17E89B72-432E-45FE-A25F-850D59A2F12A}"/>
          </ac:spMkLst>
        </pc:spChg>
      </pc:sldChg>
    </pc:docChg>
  </pc:docChgLst>
  <pc:docChgLst>
    <pc:chgData name="Axelsson Jenny" userId="S::jenny.axelsson@inera.se::35153831-a041-4e19-963c-026d50be729b" providerId="AD" clId="Web-{795CDA3E-C0CF-4FFF-BEF9-BBE00B6DFE52}"/>
    <pc:docChg chg="delSld modSld">
      <pc:chgData name="Axelsson Jenny" userId="S::jenny.axelsson@inera.se::35153831-a041-4e19-963c-026d50be729b" providerId="AD" clId="Web-{795CDA3E-C0CF-4FFF-BEF9-BBE00B6DFE52}" dt="2022-02-01T13:37:53.360" v="101" actId="20577"/>
      <pc:docMkLst>
        <pc:docMk/>
      </pc:docMkLst>
      <pc:sldChg chg="modSp">
        <pc:chgData name="Axelsson Jenny" userId="S::jenny.axelsson@inera.se::35153831-a041-4e19-963c-026d50be729b" providerId="AD" clId="Web-{795CDA3E-C0CF-4FFF-BEF9-BBE00B6DFE52}" dt="2022-02-01T13:36:15.264" v="34" actId="20577"/>
        <pc:sldMkLst>
          <pc:docMk/>
          <pc:sldMk cId="1036871477" sldId="264"/>
        </pc:sldMkLst>
        <pc:spChg chg="mod">
          <ac:chgData name="Axelsson Jenny" userId="S::jenny.axelsson@inera.se::35153831-a041-4e19-963c-026d50be729b" providerId="AD" clId="Web-{795CDA3E-C0CF-4FFF-BEF9-BBE00B6DFE52}" dt="2022-02-01T13:36:15.264" v="34" actId="20577"/>
          <ac:spMkLst>
            <pc:docMk/>
            <pc:sldMk cId="1036871477" sldId="264"/>
            <ac:spMk id="3" creationId="{3E215758-AD04-4783-8B7A-EA30D128D138}"/>
          </ac:spMkLst>
        </pc:spChg>
      </pc:sldChg>
      <pc:sldChg chg="del">
        <pc:chgData name="Axelsson Jenny" userId="S::jenny.axelsson@inera.se::35153831-a041-4e19-963c-026d50be729b" providerId="AD" clId="Web-{795CDA3E-C0CF-4FFF-BEF9-BBE00B6DFE52}" dt="2022-02-01T13:35:43.591" v="14"/>
        <pc:sldMkLst>
          <pc:docMk/>
          <pc:sldMk cId="1968099606" sldId="298"/>
        </pc:sldMkLst>
      </pc:sldChg>
      <pc:sldChg chg="modSp">
        <pc:chgData name="Axelsson Jenny" userId="S::jenny.axelsson@inera.se::35153831-a041-4e19-963c-026d50be729b" providerId="AD" clId="Web-{795CDA3E-C0CF-4FFF-BEF9-BBE00B6DFE52}" dt="2022-02-01T13:35:12.169" v="3" actId="20577"/>
        <pc:sldMkLst>
          <pc:docMk/>
          <pc:sldMk cId="2974578957" sldId="312"/>
        </pc:sldMkLst>
        <pc:spChg chg="mod">
          <ac:chgData name="Axelsson Jenny" userId="S::jenny.axelsson@inera.se::35153831-a041-4e19-963c-026d50be729b" providerId="AD" clId="Web-{795CDA3E-C0CF-4FFF-BEF9-BBE00B6DFE52}" dt="2022-02-01T13:35:12.169" v="3" actId="20577"/>
          <ac:spMkLst>
            <pc:docMk/>
            <pc:sldMk cId="2974578957" sldId="312"/>
            <ac:spMk id="4" creationId="{7C3A8192-81A1-4B54-8CE2-055E1C43C19C}"/>
          </ac:spMkLst>
        </pc:spChg>
      </pc:sldChg>
      <pc:sldChg chg="modSp">
        <pc:chgData name="Axelsson Jenny" userId="S::jenny.axelsson@inera.se::35153831-a041-4e19-963c-026d50be729b" providerId="AD" clId="Web-{795CDA3E-C0CF-4FFF-BEF9-BBE00B6DFE52}" dt="2022-02-01T13:37:53.360" v="101" actId="20577"/>
        <pc:sldMkLst>
          <pc:docMk/>
          <pc:sldMk cId="3738514320" sldId="327"/>
        </pc:sldMkLst>
        <pc:spChg chg="mod">
          <ac:chgData name="Axelsson Jenny" userId="S::jenny.axelsson@inera.se::35153831-a041-4e19-963c-026d50be729b" providerId="AD" clId="Web-{795CDA3E-C0CF-4FFF-BEF9-BBE00B6DFE52}" dt="2022-02-01T13:37:53.360" v="101" actId="20577"/>
          <ac:spMkLst>
            <pc:docMk/>
            <pc:sldMk cId="3738514320" sldId="327"/>
            <ac:spMk id="5" creationId="{BC5C837C-7D53-4E50-BDC1-752E6FCF03A0}"/>
          </ac:spMkLst>
        </pc:spChg>
      </pc:sldChg>
      <pc:sldChg chg="del">
        <pc:chgData name="Axelsson Jenny" userId="S::jenny.axelsson@inera.se::35153831-a041-4e19-963c-026d50be729b" providerId="AD" clId="Web-{795CDA3E-C0CF-4FFF-BEF9-BBE00B6DFE52}" dt="2022-02-01T13:36:05.264" v="30"/>
        <pc:sldMkLst>
          <pc:docMk/>
          <pc:sldMk cId="3360954613" sldId="331"/>
        </pc:sldMkLst>
      </pc:sldChg>
      <pc:sldChg chg="del">
        <pc:chgData name="Axelsson Jenny" userId="S::jenny.axelsson@inera.se::35153831-a041-4e19-963c-026d50be729b" providerId="AD" clId="Web-{795CDA3E-C0CF-4FFF-BEF9-BBE00B6DFE52}" dt="2022-02-01T13:35:36.279" v="8"/>
        <pc:sldMkLst>
          <pc:docMk/>
          <pc:sldMk cId="2417745813" sldId="332"/>
        </pc:sldMkLst>
      </pc:sldChg>
      <pc:sldChg chg="del">
        <pc:chgData name="Axelsson Jenny" userId="S::jenny.axelsson@inera.se::35153831-a041-4e19-963c-026d50be729b" providerId="AD" clId="Web-{795CDA3E-C0CF-4FFF-BEF9-BBE00B6DFE52}" dt="2022-02-01T13:35:38.216" v="10"/>
        <pc:sldMkLst>
          <pc:docMk/>
          <pc:sldMk cId="3339312327" sldId="333"/>
        </pc:sldMkLst>
      </pc:sldChg>
      <pc:sldChg chg="del">
        <pc:chgData name="Axelsson Jenny" userId="S::jenny.axelsson@inera.se::35153831-a041-4e19-963c-026d50be729b" providerId="AD" clId="Web-{795CDA3E-C0CF-4FFF-BEF9-BBE00B6DFE52}" dt="2022-02-01T13:35:40.388" v="13"/>
        <pc:sldMkLst>
          <pc:docMk/>
          <pc:sldMk cId="3278939599" sldId="334"/>
        </pc:sldMkLst>
      </pc:sldChg>
      <pc:sldChg chg="del">
        <pc:chgData name="Axelsson Jenny" userId="S::jenny.axelsson@inera.se::35153831-a041-4e19-963c-026d50be729b" providerId="AD" clId="Web-{795CDA3E-C0CF-4FFF-BEF9-BBE00B6DFE52}" dt="2022-02-01T13:35:46.451" v="17"/>
        <pc:sldMkLst>
          <pc:docMk/>
          <pc:sldMk cId="2129922634" sldId="336"/>
        </pc:sldMkLst>
      </pc:sldChg>
      <pc:sldChg chg="del">
        <pc:chgData name="Axelsson Jenny" userId="S::jenny.axelsson@inera.se::35153831-a041-4e19-963c-026d50be729b" providerId="AD" clId="Web-{795CDA3E-C0CF-4FFF-BEF9-BBE00B6DFE52}" dt="2022-02-01T13:35:50.810" v="21"/>
        <pc:sldMkLst>
          <pc:docMk/>
          <pc:sldMk cId="4068802719" sldId="337"/>
        </pc:sldMkLst>
      </pc:sldChg>
      <pc:sldChg chg="del">
        <pc:chgData name="Axelsson Jenny" userId="S::jenny.axelsson@inera.se::35153831-a041-4e19-963c-026d50be729b" providerId="AD" clId="Web-{795CDA3E-C0CF-4FFF-BEF9-BBE00B6DFE52}" dt="2022-02-01T13:35:56.420" v="26"/>
        <pc:sldMkLst>
          <pc:docMk/>
          <pc:sldMk cId="590067402" sldId="338"/>
        </pc:sldMkLst>
      </pc:sldChg>
      <pc:sldChg chg="del">
        <pc:chgData name="Axelsson Jenny" userId="S::jenny.axelsson@inera.se::35153831-a041-4e19-963c-026d50be729b" providerId="AD" clId="Web-{795CDA3E-C0CF-4FFF-BEF9-BBE00B6DFE52}" dt="2022-02-01T13:35:58.545" v="28"/>
        <pc:sldMkLst>
          <pc:docMk/>
          <pc:sldMk cId="3663232249" sldId="339"/>
        </pc:sldMkLst>
      </pc:sldChg>
      <pc:sldChg chg="del">
        <pc:chgData name="Axelsson Jenny" userId="S::jenny.axelsson@inera.se::35153831-a041-4e19-963c-026d50be729b" providerId="AD" clId="Web-{795CDA3E-C0CF-4FFF-BEF9-BBE00B6DFE52}" dt="2022-02-01T13:36:07.842" v="31"/>
        <pc:sldMkLst>
          <pc:docMk/>
          <pc:sldMk cId="2503514258" sldId="340"/>
        </pc:sldMkLst>
      </pc:sldChg>
      <pc:sldChg chg="del">
        <pc:chgData name="Axelsson Jenny" userId="S::jenny.axelsson@inera.se::35153831-a041-4e19-963c-026d50be729b" providerId="AD" clId="Web-{795CDA3E-C0CF-4FFF-BEF9-BBE00B6DFE52}" dt="2022-02-01T13:36:04.263" v="29"/>
        <pc:sldMkLst>
          <pc:docMk/>
          <pc:sldMk cId="1349160313" sldId="341"/>
        </pc:sldMkLst>
      </pc:sldChg>
      <pc:sldChg chg="del">
        <pc:chgData name="Axelsson Jenny" userId="S::jenny.axelsson@inera.se::35153831-a041-4e19-963c-026d50be729b" providerId="AD" clId="Web-{795CDA3E-C0CF-4FFF-BEF9-BBE00B6DFE52}" dt="2022-02-01T13:35:39.185" v="11"/>
        <pc:sldMkLst>
          <pc:docMk/>
          <pc:sldMk cId="3838751692" sldId="343"/>
        </pc:sldMkLst>
      </pc:sldChg>
      <pc:sldChg chg="del">
        <pc:chgData name="Axelsson Jenny" userId="S::jenny.axelsson@inera.se::35153831-a041-4e19-963c-026d50be729b" providerId="AD" clId="Web-{795CDA3E-C0CF-4FFF-BEF9-BBE00B6DFE52}" dt="2022-02-01T13:35:39.497" v="12"/>
        <pc:sldMkLst>
          <pc:docMk/>
          <pc:sldMk cId="2951961761" sldId="346"/>
        </pc:sldMkLst>
      </pc:sldChg>
      <pc:sldChg chg="del">
        <pc:chgData name="Axelsson Jenny" userId="S::jenny.axelsson@inera.se::35153831-a041-4e19-963c-026d50be729b" providerId="AD" clId="Web-{795CDA3E-C0CF-4FFF-BEF9-BBE00B6DFE52}" dt="2022-02-01T13:35:44.638" v="15"/>
        <pc:sldMkLst>
          <pc:docMk/>
          <pc:sldMk cId="3818659979" sldId="347"/>
        </pc:sldMkLst>
      </pc:sldChg>
      <pc:sldChg chg="del">
        <pc:chgData name="Axelsson Jenny" userId="S::jenny.axelsson@inera.se::35153831-a041-4e19-963c-026d50be729b" providerId="AD" clId="Web-{795CDA3E-C0CF-4FFF-BEF9-BBE00B6DFE52}" dt="2022-02-01T13:35:45.763" v="16"/>
        <pc:sldMkLst>
          <pc:docMk/>
          <pc:sldMk cId="2737267205" sldId="348"/>
        </pc:sldMkLst>
      </pc:sldChg>
      <pc:sldChg chg="del">
        <pc:chgData name="Axelsson Jenny" userId="S::jenny.axelsson@inera.se::35153831-a041-4e19-963c-026d50be729b" providerId="AD" clId="Web-{795CDA3E-C0CF-4FFF-BEF9-BBE00B6DFE52}" dt="2022-02-01T13:35:51.794" v="22"/>
        <pc:sldMkLst>
          <pc:docMk/>
          <pc:sldMk cId="3801574537" sldId="349"/>
        </pc:sldMkLst>
      </pc:sldChg>
      <pc:sldChg chg="del">
        <pc:chgData name="Axelsson Jenny" userId="S::jenny.axelsson@inera.se::35153831-a041-4e19-963c-026d50be729b" providerId="AD" clId="Web-{795CDA3E-C0CF-4FFF-BEF9-BBE00B6DFE52}" dt="2022-02-01T13:35:52.732" v="23"/>
        <pc:sldMkLst>
          <pc:docMk/>
          <pc:sldMk cId="1287501561" sldId="350"/>
        </pc:sldMkLst>
      </pc:sldChg>
      <pc:sldChg chg="del">
        <pc:chgData name="Axelsson Jenny" userId="S::jenny.axelsson@inera.se::35153831-a041-4e19-963c-026d50be729b" providerId="AD" clId="Web-{795CDA3E-C0CF-4FFF-BEF9-BBE00B6DFE52}" dt="2022-02-01T13:35:54.545" v="25"/>
        <pc:sldMkLst>
          <pc:docMk/>
          <pc:sldMk cId="2992425971" sldId="351"/>
        </pc:sldMkLst>
      </pc:sldChg>
      <pc:sldChg chg="del">
        <pc:chgData name="Axelsson Jenny" userId="S::jenny.axelsson@inera.se::35153831-a041-4e19-963c-026d50be729b" providerId="AD" clId="Web-{795CDA3E-C0CF-4FFF-BEF9-BBE00B6DFE52}" dt="2022-02-01T13:35:53.716" v="24"/>
        <pc:sldMkLst>
          <pc:docMk/>
          <pc:sldMk cId="2584752395" sldId="352"/>
        </pc:sldMkLst>
      </pc:sldChg>
      <pc:sldChg chg="del">
        <pc:chgData name="Axelsson Jenny" userId="S::jenny.axelsson@inera.se::35153831-a041-4e19-963c-026d50be729b" providerId="AD" clId="Web-{795CDA3E-C0CF-4FFF-BEF9-BBE00B6DFE52}" dt="2022-02-01T13:35:34.872" v="7"/>
        <pc:sldMkLst>
          <pc:docMk/>
          <pc:sldMk cId="1079766907" sldId="353"/>
        </pc:sldMkLst>
      </pc:sldChg>
      <pc:sldChg chg="del">
        <pc:chgData name="Axelsson Jenny" userId="S::jenny.axelsson@inera.se::35153831-a041-4e19-963c-026d50be729b" providerId="AD" clId="Web-{795CDA3E-C0CF-4FFF-BEF9-BBE00B6DFE52}" dt="2022-02-01T13:35:37.825" v="9"/>
        <pc:sldMkLst>
          <pc:docMk/>
          <pc:sldMk cId="1371906061" sldId="354"/>
        </pc:sldMkLst>
      </pc:sldChg>
      <pc:sldChg chg="del">
        <pc:chgData name="Axelsson Jenny" userId="S::jenny.axelsson@inera.se::35153831-a041-4e19-963c-026d50be729b" providerId="AD" clId="Web-{795CDA3E-C0CF-4FFF-BEF9-BBE00B6DFE52}" dt="2022-02-01T13:35:57.482" v="27"/>
        <pc:sldMkLst>
          <pc:docMk/>
          <pc:sldMk cId="2581502841" sldId="355"/>
        </pc:sldMkLst>
      </pc:sldChg>
      <pc:sldChg chg="del">
        <pc:chgData name="Axelsson Jenny" userId="S::jenny.axelsson@inera.se::35153831-a041-4e19-963c-026d50be729b" providerId="AD" clId="Web-{795CDA3E-C0CF-4FFF-BEF9-BBE00B6DFE52}" dt="2022-02-01T13:35:47.748" v="18"/>
        <pc:sldMkLst>
          <pc:docMk/>
          <pc:sldMk cId="1852366786" sldId="356"/>
        </pc:sldMkLst>
      </pc:sldChg>
      <pc:sldChg chg="del">
        <pc:chgData name="Axelsson Jenny" userId="S::jenny.axelsson@inera.se::35153831-a041-4e19-963c-026d50be729b" providerId="AD" clId="Web-{795CDA3E-C0CF-4FFF-BEF9-BBE00B6DFE52}" dt="2022-02-01T13:35:48.482" v="19"/>
        <pc:sldMkLst>
          <pc:docMk/>
          <pc:sldMk cId="3101166326" sldId="357"/>
        </pc:sldMkLst>
      </pc:sldChg>
      <pc:sldChg chg="del">
        <pc:chgData name="Axelsson Jenny" userId="S::jenny.axelsson@inera.se::35153831-a041-4e19-963c-026d50be729b" providerId="AD" clId="Web-{795CDA3E-C0CF-4FFF-BEF9-BBE00B6DFE52}" dt="2022-02-01T13:35:49.794" v="20"/>
        <pc:sldMkLst>
          <pc:docMk/>
          <pc:sldMk cId="2598536595" sldId="358"/>
        </pc:sldMkLst>
      </pc:sldChg>
    </pc:docChg>
  </pc:docChgLst>
  <pc:docChgLst>
    <pc:chgData name="Olars Björn" userId="S::bjorn.olars@inera.se::1c81218a-21ec-413f-8dc1-a8bd0b85f8ba" providerId="AD" clId="Web-{B2812095-146B-4742-AE32-1403DA3374A1}"/>
    <pc:docChg chg="modSld">
      <pc:chgData name="Olars Björn" userId="S::bjorn.olars@inera.se::1c81218a-21ec-413f-8dc1-a8bd0b85f8ba" providerId="AD" clId="Web-{B2812095-146B-4742-AE32-1403DA3374A1}" dt="2022-05-20T07:11:07.200" v="91" actId="20577"/>
      <pc:docMkLst>
        <pc:docMk/>
      </pc:docMkLst>
      <pc:sldChg chg="modSp">
        <pc:chgData name="Olars Björn" userId="S::bjorn.olars@inera.se::1c81218a-21ec-413f-8dc1-a8bd0b85f8ba" providerId="AD" clId="Web-{B2812095-146B-4742-AE32-1403DA3374A1}" dt="2022-05-20T07:11:07.200" v="91" actId="20577"/>
        <pc:sldMkLst>
          <pc:docMk/>
          <pc:sldMk cId="2512516227" sldId="449"/>
        </pc:sldMkLst>
        <pc:spChg chg="mod">
          <ac:chgData name="Olars Björn" userId="S::bjorn.olars@inera.se::1c81218a-21ec-413f-8dc1-a8bd0b85f8ba" providerId="AD" clId="Web-{B2812095-146B-4742-AE32-1403DA3374A1}" dt="2022-05-20T07:11:07.200" v="91" actId="20577"/>
          <ac:spMkLst>
            <pc:docMk/>
            <pc:sldMk cId="2512516227" sldId="449"/>
            <ac:spMk id="3" creationId="{9E10EE92-06FA-42D7-1E5F-EA2D2697115D}"/>
          </ac:spMkLst>
        </pc:spChg>
        <pc:picChg chg="mod">
          <ac:chgData name="Olars Björn" userId="S::bjorn.olars@inera.se::1c81218a-21ec-413f-8dc1-a8bd0b85f8ba" providerId="AD" clId="Web-{B2812095-146B-4742-AE32-1403DA3374A1}" dt="2022-05-20T07:10:03.683" v="15" actId="1076"/>
          <ac:picMkLst>
            <pc:docMk/>
            <pc:sldMk cId="2512516227" sldId="449"/>
            <ac:picMk id="6" creationId="{047DE29D-C8D2-8E95-6166-7B54DF07FAC4}"/>
          </ac:picMkLst>
        </pc:picChg>
      </pc:sldChg>
      <pc:sldChg chg="modSp">
        <pc:chgData name="Olars Björn" userId="S::bjorn.olars@inera.se::1c81218a-21ec-413f-8dc1-a8bd0b85f8ba" providerId="AD" clId="Web-{B2812095-146B-4742-AE32-1403DA3374A1}" dt="2022-05-20T07:09:54.698" v="13" actId="1076"/>
        <pc:sldMkLst>
          <pc:docMk/>
          <pc:sldMk cId="3047865759" sldId="450"/>
        </pc:sldMkLst>
        <pc:spChg chg="mod">
          <ac:chgData name="Olars Björn" userId="S::bjorn.olars@inera.se::1c81218a-21ec-413f-8dc1-a8bd0b85f8ba" providerId="AD" clId="Web-{B2812095-146B-4742-AE32-1403DA3374A1}" dt="2022-05-20T07:09:54.698" v="13" actId="1076"/>
          <ac:spMkLst>
            <pc:docMk/>
            <pc:sldMk cId="3047865759" sldId="450"/>
            <ac:spMk id="6" creationId="{DA535E35-64C2-45C2-BC4B-6B2A9713ADB8}"/>
          </ac:spMkLst>
        </pc:spChg>
        <pc:spChg chg="mod">
          <ac:chgData name="Olars Björn" userId="S::bjorn.olars@inera.se::1c81218a-21ec-413f-8dc1-a8bd0b85f8ba" providerId="AD" clId="Web-{B2812095-146B-4742-AE32-1403DA3374A1}" dt="2022-05-20T07:09:22.948" v="10" actId="20577"/>
          <ac:spMkLst>
            <pc:docMk/>
            <pc:sldMk cId="3047865759" sldId="450"/>
            <ac:spMk id="287" creationId="{50469693-808F-44AD-A7E8-CB69A68013AC}"/>
          </ac:spMkLst>
        </pc:spChg>
      </pc:sldChg>
    </pc:docChg>
  </pc:docChgLst>
  <pc:docChgLst>
    <pc:chgData name="Axelsson Jenny" userId="S::jenny.axelsson@inera.se::35153831-a041-4e19-963c-026d50be729b" providerId="AD" clId="Web-{875C41AE-B2DF-47AD-B049-EF664B7720B7}"/>
    <pc:docChg chg="modSld">
      <pc:chgData name="Axelsson Jenny" userId="S::jenny.axelsson@inera.se::35153831-a041-4e19-963c-026d50be729b" providerId="AD" clId="Web-{875C41AE-B2DF-47AD-B049-EF664B7720B7}" dt="2021-02-04T09:42:20.077" v="2" actId="20577"/>
      <pc:docMkLst>
        <pc:docMk/>
      </pc:docMkLst>
      <pc:sldChg chg="modSp">
        <pc:chgData name="Axelsson Jenny" userId="S::jenny.axelsson@inera.se::35153831-a041-4e19-963c-026d50be729b" providerId="AD" clId="Web-{875C41AE-B2DF-47AD-B049-EF664B7720B7}" dt="2021-02-04T09:42:20.077" v="2" actId="20577"/>
        <pc:sldMkLst>
          <pc:docMk/>
          <pc:sldMk cId="688302191" sldId="259"/>
        </pc:sldMkLst>
        <pc:spChg chg="mod">
          <ac:chgData name="Axelsson Jenny" userId="S::jenny.axelsson@inera.se::35153831-a041-4e19-963c-026d50be729b" providerId="AD" clId="Web-{875C41AE-B2DF-47AD-B049-EF664B7720B7}" dt="2021-02-04T09:42:20.077" v="2" actId="20577"/>
          <ac:spMkLst>
            <pc:docMk/>
            <pc:sldMk cId="688302191" sldId="259"/>
            <ac:spMk id="9" creationId="{9993CAB1-87C1-455A-819E-ACEEB293788A}"/>
          </ac:spMkLst>
        </pc:spChg>
      </pc:sldChg>
    </pc:docChg>
  </pc:docChgLst>
  <pc:docChgLst>
    <pc:chgData name="Axelsson Jenny" userId="S::jenny.axelsson@inera.se::35153831-a041-4e19-963c-026d50be729b" providerId="AD" clId="Web-{30647B9A-2DAD-4BED-AF42-099FA2AC276D}"/>
    <pc:docChg chg="addSld delSld modSld sldOrd">
      <pc:chgData name="Axelsson Jenny" userId="S::jenny.axelsson@inera.se::35153831-a041-4e19-963c-026d50be729b" providerId="AD" clId="Web-{30647B9A-2DAD-4BED-AF42-099FA2AC276D}" dt="2022-01-18T15:41:59.493" v="133" actId="20577"/>
      <pc:docMkLst>
        <pc:docMk/>
      </pc:docMkLst>
      <pc:sldChg chg="modSp del">
        <pc:chgData name="Axelsson Jenny" userId="S::jenny.axelsson@inera.se::35153831-a041-4e19-963c-026d50be729b" providerId="AD" clId="Web-{30647B9A-2DAD-4BED-AF42-099FA2AC276D}" dt="2022-01-18T15:40:51.195" v="117"/>
        <pc:sldMkLst>
          <pc:docMk/>
          <pc:sldMk cId="1351546238" sldId="267"/>
        </pc:sldMkLst>
        <pc:spChg chg="mod">
          <ac:chgData name="Axelsson Jenny" userId="S::jenny.axelsson@inera.se::35153831-a041-4e19-963c-026d50be729b" providerId="AD" clId="Web-{30647B9A-2DAD-4BED-AF42-099FA2AC276D}" dt="2022-01-18T15:40:15.491" v="110" actId="20577"/>
          <ac:spMkLst>
            <pc:docMk/>
            <pc:sldMk cId="1351546238" sldId="267"/>
            <ac:spMk id="5" creationId="{E66C5368-8331-464F-8C50-5BB97655E8A7}"/>
          </ac:spMkLst>
        </pc:spChg>
      </pc:sldChg>
      <pc:sldChg chg="del">
        <pc:chgData name="Axelsson Jenny" userId="S::jenny.axelsson@inera.se::35153831-a041-4e19-963c-026d50be729b" providerId="AD" clId="Web-{30647B9A-2DAD-4BED-AF42-099FA2AC276D}" dt="2022-01-18T15:41:02.586" v="120"/>
        <pc:sldMkLst>
          <pc:docMk/>
          <pc:sldMk cId="1890798318" sldId="323"/>
        </pc:sldMkLst>
      </pc:sldChg>
      <pc:sldChg chg="ord">
        <pc:chgData name="Axelsson Jenny" userId="S::jenny.axelsson@inera.se::35153831-a041-4e19-963c-026d50be729b" providerId="AD" clId="Web-{30647B9A-2DAD-4BED-AF42-099FA2AC276D}" dt="2022-01-18T15:41:50.712" v="131"/>
        <pc:sldMkLst>
          <pc:docMk/>
          <pc:sldMk cId="1447821777" sldId="325"/>
        </pc:sldMkLst>
      </pc:sldChg>
      <pc:sldChg chg="del">
        <pc:chgData name="Axelsson Jenny" userId="S::jenny.axelsson@inera.se::35153831-a041-4e19-963c-026d50be729b" providerId="AD" clId="Web-{30647B9A-2DAD-4BED-AF42-099FA2AC276D}" dt="2022-01-18T15:41:45.087" v="129"/>
        <pc:sldMkLst>
          <pc:docMk/>
          <pc:sldMk cId="2032816693" sldId="326"/>
        </pc:sldMkLst>
      </pc:sldChg>
      <pc:sldChg chg="addSp modSp new mod modClrScheme chgLayout">
        <pc:chgData name="Axelsson Jenny" userId="S::jenny.axelsson@inera.se::35153831-a041-4e19-963c-026d50be729b" providerId="AD" clId="Web-{30647B9A-2DAD-4BED-AF42-099FA2AC276D}" dt="2022-01-18T15:41:25.821" v="128" actId="20577"/>
        <pc:sldMkLst>
          <pc:docMk/>
          <pc:sldMk cId="3738514320" sldId="327"/>
        </pc:sldMkLst>
        <pc:spChg chg="mod ord">
          <ac:chgData name="Axelsson Jenny" userId="S::jenny.axelsson@inera.se::35153831-a041-4e19-963c-026d50be729b" providerId="AD" clId="Web-{30647B9A-2DAD-4BED-AF42-099FA2AC276D}" dt="2022-01-18T15:41:25.821" v="128" actId="20577"/>
          <ac:spMkLst>
            <pc:docMk/>
            <pc:sldMk cId="3738514320" sldId="327"/>
            <ac:spMk id="2" creationId="{0CFCCCF5-BAA9-4E4C-96B6-6829CE835F12}"/>
          </ac:spMkLst>
        </pc:spChg>
        <pc:spChg chg="mod ord">
          <ac:chgData name="Axelsson Jenny" userId="S::jenny.axelsson@inera.se::35153831-a041-4e19-963c-026d50be729b" providerId="AD" clId="Web-{30647B9A-2DAD-4BED-AF42-099FA2AC276D}" dt="2022-01-18T15:40:24.772" v="112"/>
          <ac:spMkLst>
            <pc:docMk/>
            <pc:sldMk cId="3738514320" sldId="327"/>
            <ac:spMk id="3" creationId="{9B9BDEB0-A059-4A27-A7FB-18D322E606A2}"/>
          </ac:spMkLst>
        </pc:spChg>
        <pc:spChg chg="mod ord">
          <ac:chgData name="Axelsson Jenny" userId="S::jenny.axelsson@inera.se::35153831-a041-4e19-963c-026d50be729b" providerId="AD" clId="Web-{30647B9A-2DAD-4BED-AF42-099FA2AC276D}" dt="2022-01-18T15:40:24.772" v="112"/>
          <ac:spMkLst>
            <pc:docMk/>
            <pc:sldMk cId="3738514320" sldId="327"/>
            <ac:spMk id="4" creationId="{F71C981C-F9F9-4167-9BDA-91B21A785F04}"/>
          </ac:spMkLst>
        </pc:spChg>
        <pc:spChg chg="add mod ord">
          <ac:chgData name="Axelsson Jenny" userId="S::jenny.axelsson@inera.se::35153831-a041-4e19-963c-026d50be729b" providerId="AD" clId="Web-{30647B9A-2DAD-4BED-AF42-099FA2AC276D}" dt="2022-01-18T15:40:48.710" v="116" actId="20577"/>
          <ac:spMkLst>
            <pc:docMk/>
            <pc:sldMk cId="3738514320" sldId="327"/>
            <ac:spMk id="5" creationId="{BC5C837C-7D53-4E50-BDC1-752E6FCF03A0}"/>
          </ac:spMkLst>
        </pc:spChg>
      </pc:sldChg>
      <pc:sldChg chg="modSp add replId">
        <pc:chgData name="Axelsson Jenny" userId="S::jenny.axelsson@inera.se::35153831-a041-4e19-963c-026d50be729b" providerId="AD" clId="Web-{30647B9A-2DAD-4BED-AF42-099FA2AC276D}" dt="2022-01-18T15:41:59.493" v="133" actId="20577"/>
        <pc:sldMkLst>
          <pc:docMk/>
          <pc:sldMk cId="4158201782" sldId="328"/>
        </pc:sldMkLst>
        <pc:spChg chg="mod">
          <ac:chgData name="Axelsson Jenny" userId="S::jenny.axelsson@inera.se::35153831-a041-4e19-963c-026d50be729b" providerId="AD" clId="Web-{30647B9A-2DAD-4BED-AF42-099FA2AC276D}" dt="2022-01-18T15:41:18.930" v="127" actId="20577"/>
          <ac:spMkLst>
            <pc:docMk/>
            <pc:sldMk cId="4158201782" sldId="328"/>
            <ac:spMk id="2" creationId="{0CFCCCF5-BAA9-4E4C-96B6-6829CE835F12}"/>
          </ac:spMkLst>
        </pc:spChg>
        <pc:spChg chg="mod">
          <ac:chgData name="Axelsson Jenny" userId="S::jenny.axelsson@inera.se::35153831-a041-4e19-963c-026d50be729b" providerId="AD" clId="Web-{30647B9A-2DAD-4BED-AF42-099FA2AC276D}" dt="2022-01-18T15:41:59.493" v="133" actId="20577"/>
          <ac:spMkLst>
            <pc:docMk/>
            <pc:sldMk cId="4158201782" sldId="328"/>
            <ac:spMk id="5" creationId="{BC5C837C-7D53-4E50-BDC1-752E6FCF03A0}"/>
          </ac:spMkLst>
        </pc:spChg>
      </pc:sldChg>
      <pc:sldChg chg="new del">
        <pc:chgData name="Axelsson Jenny" userId="S::jenny.axelsson@inera.se::35153831-a041-4e19-963c-026d50be729b" providerId="AD" clId="Web-{30647B9A-2DAD-4BED-AF42-099FA2AC276D}" dt="2022-01-18T15:41:02.804" v="121"/>
        <pc:sldMkLst>
          <pc:docMk/>
          <pc:sldMk cId="3938898575" sldId="329"/>
        </pc:sldMkLst>
      </pc:sldChg>
      <pc:sldChg chg="add replId">
        <pc:chgData name="Axelsson Jenny" userId="S::jenny.axelsson@inera.se::35153831-a041-4e19-963c-026d50be729b" providerId="AD" clId="Web-{30647B9A-2DAD-4BED-AF42-099FA2AC276D}" dt="2022-01-18T15:41:47.446" v="130"/>
        <pc:sldMkLst>
          <pc:docMk/>
          <pc:sldMk cId="4095140548" sldId="329"/>
        </pc:sldMkLst>
      </pc:sldChg>
    </pc:docChg>
  </pc:docChgLst>
  <pc:docChgLst>
    <pc:chgData name="Axelsson Jenny" userId="35153831-a041-4e19-963c-026d50be729b" providerId="ADAL" clId="{D4113166-57DF-4491-B0B3-8F01CEA07F6E}"/>
    <pc:docChg chg="undo custSel addSld delSld modSld sldOrd modShowInfo">
      <pc:chgData name="Axelsson Jenny" userId="35153831-a041-4e19-963c-026d50be729b" providerId="ADAL" clId="{D4113166-57DF-4491-B0B3-8F01CEA07F6E}" dt="2022-03-25T12:27:20.101" v="275" actId="2744"/>
      <pc:docMkLst>
        <pc:docMk/>
      </pc:docMkLst>
      <pc:sldChg chg="modSp mod">
        <pc:chgData name="Axelsson Jenny" userId="35153831-a041-4e19-963c-026d50be729b" providerId="ADAL" clId="{D4113166-57DF-4491-B0B3-8F01CEA07F6E}" dt="2022-03-21T09:21:52.514" v="50" actId="20577"/>
        <pc:sldMkLst>
          <pc:docMk/>
          <pc:sldMk cId="1036871477" sldId="264"/>
        </pc:sldMkLst>
        <pc:spChg chg="mod">
          <ac:chgData name="Axelsson Jenny" userId="35153831-a041-4e19-963c-026d50be729b" providerId="ADAL" clId="{D4113166-57DF-4491-B0B3-8F01CEA07F6E}" dt="2022-03-21T09:21:52.514" v="50" actId="20577"/>
          <ac:spMkLst>
            <pc:docMk/>
            <pc:sldMk cId="1036871477" sldId="264"/>
            <ac:spMk id="3" creationId="{3E215758-AD04-4783-8B7A-EA30D128D138}"/>
          </ac:spMkLst>
        </pc:spChg>
      </pc:sldChg>
      <pc:sldChg chg="modSp mod">
        <pc:chgData name="Axelsson Jenny" userId="35153831-a041-4e19-963c-026d50be729b" providerId="ADAL" clId="{D4113166-57DF-4491-B0B3-8F01CEA07F6E}" dt="2022-03-25T12:15:01.099" v="274" actId="20577"/>
        <pc:sldMkLst>
          <pc:docMk/>
          <pc:sldMk cId="2974578957" sldId="312"/>
        </pc:sldMkLst>
        <pc:spChg chg="mod">
          <ac:chgData name="Axelsson Jenny" userId="35153831-a041-4e19-963c-026d50be729b" providerId="ADAL" clId="{D4113166-57DF-4491-B0B3-8F01CEA07F6E}" dt="2022-03-25T12:15:01.099" v="274" actId="20577"/>
          <ac:spMkLst>
            <pc:docMk/>
            <pc:sldMk cId="2974578957" sldId="312"/>
            <ac:spMk id="4" creationId="{7C3A8192-81A1-4B54-8CE2-055E1C43C19C}"/>
          </ac:spMkLst>
        </pc:spChg>
      </pc:sldChg>
      <pc:sldChg chg="del">
        <pc:chgData name="Axelsson Jenny" userId="35153831-a041-4e19-963c-026d50be729b" providerId="ADAL" clId="{D4113166-57DF-4491-B0B3-8F01CEA07F6E}" dt="2022-03-25T11:15:59.650" v="270" actId="47"/>
        <pc:sldMkLst>
          <pc:docMk/>
          <pc:sldMk cId="1447821777" sldId="325"/>
        </pc:sldMkLst>
      </pc:sldChg>
      <pc:sldChg chg="addSp delSp modSp mod">
        <pc:chgData name="Axelsson Jenny" userId="35153831-a041-4e19-963c-026d50be729b" providerId="ADAL" clId="{D4113166-57DF-4491-B0B3-8F01CEA07F6E}" dt="2022-03-25T11:15:45.480" v="265" actId="6549"/>
        <pc:sldMkLst>
          <pc:docMk/>
          <pc:sldMk cId="3738514320" sldId="327"/>
        </pc:sldMkLst>
        <pc:spChg chg="add del mod">
          <ac:chgData name="Axelsson Jenny" userId="35153831-a041-4e19-963c-026d50be729b" providerId="ADAL" clId="{D4113166-57DF-4491-B0B3-8F01CEA07F6E}" dt="2022-03-25T11:15:45.480" v="265" actId="6549"/>
          <ac:spMkLst>
            <pc:docMk/>
            <pc:sldMk cId="3738514320" sldId="327"/>
            <ac:spMk id="5" creationId="{BC5C837C-7D53-4E50-BDC1-752E6FCF03A0}"/>
          </ac:spMkLst>
        </pc:spChg>
        <pc:spChg chg="add del mod">
          <ac:chgData name="Axelsson Jenny" userId="35153831-a041-4e19-963c-026d50be729b" providerId="ADAL" clId="{D4113166-57DF-4491-B0B3-8F01CEA07F6E}" dt="2022-03-25T11:15:27.687" v="260" actId="478"/>
          <ac:spMkLst>
            <pc:docMk/>
            <pc:sldMk cId="3738514320" sldId="327"/>
            <ac:spMk id="7" creationId="{E05E25B9-B667-47CE-A29F-A0778337A6CD}"/>
          </ac:spMkLst>
        </pc:spChg>
      </pc:sldChg>
      <pc:sldChg chg="modSp mod">
        <pc:chgData name="Axelsson Jenny" userId="35153831-a041-4e19-963c-026d50be729b" providerId="ADAL" clId="{D4113166-57DF-4491-B0B3-8F01CEA07F6E}" dt="2022-03-25T11:15:49.643" v="267" actId="5793"/>
        <pc:sldMkLst>
          <pc:docMk/>
          <pc:sldMk cId="4158201782" sldId="328"/>
        </pc:sldMkLst>
        <pc:spChg chg="mod">
          <ac:chgData name="Axelsson Jenny" userId="35153831-a041-4e19-963c-026d50be729b" providerId="ADAL" clId="{D4113166-57DF-4491-B0B3-8F01CEA07F6E}" dt="2022-03-25T11:15:49.643" v="267" actId="5793"/>
          <ac:spMkLst>
            <pc:docMk/>
            <pc:sldMk cId="4158201782" sldId="328"/>
            <ac:spMk id="5" creationId="{BC5C837C-7D53-4E50-BDC1-752E6FCF03A0}"/>
          </ac:spMkLst>
        </pc:spChg>
      </pc:sldChg>
      <pc:sldChg chg="del">
        <pc:chgData name="Axelsson Jenny" userId="35153831-a041-4e19-963c-026d50be729b" providerId="ADAL" clId="{D4113166-57DF-4491-B0B3-8F01CEA07F6E}" dt="2022-03-22T16:10:42.522" v="122" actId="47"/>
        <pc:sldMkLst>
          <pc:docMk/>
          <pc:sldMk cId="1360158982" sldId="330"/>
        </pc:sldMkLst>
      </pc:sldChg>
      <pc:sldChg chg="del">
        <pc:chgData name="Axelsson Jenny" userId="35153831-a041-4e19-963c-026d50be729b" providerId="ADAL" clId="{D4113166-57DF-4491-B0B3-8F01CEA07F6E}" dt="2022-03-22T16:09:19.815" v="103" actId="47"/>
        <pc:sldMkLst>
          <pc:docMk/>
          <pc:sldMk cId="650609371" sldId="342"/>
        </pc:sldMkLst>
      </pc:sldChg>
      <pc:sldChg chg="del">
        <pc:chgData name="Axelsson Jenny" userId="35153831-a041-4e19-963c-026d50be729b" providerId="ADAL" clId="{D4113166-57DF-4491-B0B3-8F01CEA07F6E}" dt="2022-03-21T09:21:01.350" v="1" actId="47"/>
        <pc:sldMkLst>
          <pc:docMk/>
          <pc:sldMk cId="991745743" sldId="343"/>
        </pc:sldMkLst>
      </pc:sldChg>
      <pc:sldChg chg="modSp add mod">
        <pc:chgData name="Axelsson Jenny" userId="35153831-a041-4e19-963c-026d50be729b" providerId="ADAL" clId="{D4113166-57DF-4491-B0B3-8F01CEA07F6E}" dt="2022-03-25T11:15:52.803" v="268" actId="6549"/>
        <pc:sldMkLst>
          <pc:docMk/>
          <pc:sldMk cId="4191591904" sldId="343"/>
        </pc:sldMkLst>
        <pc:spChg chg="mod">
          <ac:chgData name="Axelsson Jenny" userId="35153831-a041-4e19-963c-026d50be729b" providerId="ADAL" clId="{D4113166-57DF-4491-B0B3-8F01CEA07F6E}" dt="2022-03-25T11:15:52.803" v="268" actId="6549"/>
          <ac:spMkLst>
            <pc:docMk/>
            <pc:sldMk cId="4191591904" sldId="343"/>
            <ac:spMk id="5" creationId="{BC5C837C-7D53-4E50-BDC1-752E6FCF03A0}"/>
          </ac:spMkLst>
        </pc:spChg>
      </pc:sldChg>
      <pc:sldChg chg="modSp add del mod">
        <pc:chgData name="Axelsson Jenny" userId="35153831-a041-4e19-963c-026d50be729b" providerId="ADAL" clId="{D4113166-57DF-4491-B0B3-8F01CEA07F6E}" dt="2022-03-25T11:15:58.796" v="269" actId="47"/>
        <pc:sldMkLst>
          <pc:docMk/>
          <pc:sldMk cId="1783605678" sldId="344"/>
        </pc:sldMkLst>
        <pc:spChg chg="mod">
          <ac:chgData name="Axelsson Jenny" userId="35153831-a041-4e19-963c-026d50be729b" providerId="ADAL" clId="{D4113166-57DF-4491-B0B3-8F01CEA07F6E}" dt="2022-03-25T11:15:01.131" v="253" actId="6549"/>
          <ac:spMkLst>
            <pc:docMk/>
            <pc:sldMk cId="1783605678" sldId="344"/>
            <ac:spMk id="5" creationId="{BC5C837C-7D53-4E50-BDC1-752E6FCF03A0}"/>
          </ac:spMkLst>
        </pc:spChg>
      </pc:sldChg>
      <pc:sldChg chg="del">
        <pc:chgData name="Axelsson Jenny" userId="35153831-a041-4e19-963c-026d50be729b" providerId="ADAL" clId="{D4113166-57DF-4491-B0B3-8F01CEA07F6E}" dt="2022-03-21T09:21:02.804" v="3" actId="47"/>
        <pc:sldMkLst>
          <pc:docMk/>
          <pc:sldMk cId="2556717896" sldId="344"/>
        </pc:sldMkLst>
      </pc:sldChg>
      <pc:sldChg chg="modSp add mod">
        <pc:chgData name="Axelsson Jenny" userId="35153831-a041-4e19-963c-026d50be729b" providerId="ADAL" clId="{D4113166-57DF-4491-B0B3-8F01CEA07F6E}" dt="2022-03-25T11:16:03.019" v="272" actId="5793"/>
        <pc:sldMkLst>
          <pc:docMk/>
          <pc:sldMk cId="1961555816" sldId="345"/>
        </pc:sldMkLst>
        <pc:spChg chg="mod">
          <ac:chgData name="Axelsson Jenny" userId="35153831-a041-4e19-963c-026d50be729b" providerId="ADAL" clId="{D4113166-57DF-4491-B0B3-8F01CEA07F6E}" dt="2022-03-25T11:16:03.019" v="272" actId="5793"/>
          <ac:spMkLst>
            <pc:docMk/>
            <pc:sldMk cId="1961555816" sldId="345"/>
            <ac:spMk id="5" creationId="{BC5C837C-7D53-4E50-BDC1-752E6FCF03A0}"/>
          </ac:spMkLst>
        </pc:spChg>
      </pc:sldChg>
      <pc:sldChg chg="del">
        <pc:chgData name="Axelsson Jenny" userId="35153831-a041-4e19-963c-026d50be729b" providerId="ADAL" clId="{D4113166-57DF-4491-B0B3-8F01CEA07F6E}" dt="2022-03-21T09:21:03.222" v="4" actId="47"/>
        <pc:sldMkLst>
          <pc:docMk/>
          <pc:sldMk cId="3358880838" sldId="345"/>
        </pc:sldMkLst>
      </pc:sldChg>
      <pc:sldChg chg="del">
        <pc:chgData name="Axelsson Jenny" userId="35153831-a041-4e19-963c-026d50be729b" providerId="ADAL" clId="{D4113166-57DF-4491-B0B3-8F01CEA07F6E}" dt="2022-03-21T09:21:03.860" v="5" actId="47"/>
        <pc:sldMkLst>
          <pc:docMk/>
          <pc:sldMk cId="415153516" sldId="346"/>
        </pc:sldMkLst>
      </pc:sldChg>
      <pc:sldChg chg="modSp add del mod">
        <pc:chgData name="Axelsson Jenny" userId="35153831-a041-4e19-963c-026d50be729b" providerId="ADAL" clId="{D4113166-57DF-4491-B0B3-8F01CEA07F6E}" dt="2022-03-25T11:14:13.606" v="234" actId="47"/>
        <pc:sldMkLst>
          <pc:docMk/>
          <pc:sldMk cId="2632127831" sldId="346"/>
        </pc:sldMkLst>
        <pc:spChg chg="mod">
          <ac:chgData name="Axelsson Jenny" userId="35153831-a041-4e19-963c-026d50be729b" providerId="ADAL" clId="{D4113166-57DF-4491-B0B3-8F01CEA07F6E}" dt="2022-03-24T12:12:49.608" v="220"/>
          <ac:spMkLst>
            <pc:docMk/>
            <pc:sldMk cId="2632127831" sldId="346"/>
            <ac:spMk id="5" creationId="{BC5C837C-7D53-4E50-BDC1-752E6FCF03A0}"/>
          </ac:spMkLst>
        </pc:spChg>
      </pc:sldChg>
      <pc:sldChg chg="modSp add del mod">
        <pc:chgData name="Axelsson Jenny" userId="35153831-a041-4e19-963c-026d50be729b" providerId="ADAL" clId="{D4113166-57DF-4491-B0B3-8F01CEA07F6E}" dt="2022-03-25T11:14:14.770" v="235" actId="47"/>
        <pc:sldMkLst>
          <pc:docMk/>
          <pc:sldMk cId="1861357430" sldId="347"/>
        </pc:sldMkLst>
        <pc:spChg chg="mod">
          <ac:chgData name="Axelsson Jenny" userId="35153831-a041-4e19-963c-026d50be729b" providerId="ADAL" clId="{D4113166-57DF-4491-B0B3-8F01CEA07F6E}" dt="2022-03-22T16:10:40.988" v="121"/>
          <ac:spMkLst>
            <pc:docMk/>
            <pc:sldMk cId="1861357430" sldId="347"/>
            <ac:spMk id="2" creationId="{0CFCCCF5-BAA9-4E4C-96B6-6829CE835F12}"/>
          </ac:spMkLst>
        </pc:spChg>
        <pc:spChg chg="mod">
          <ac:chgData name="Axelsson Jenny" userId="35153831-a041-4e19-963c-026d50be729b" providerId="ADAL" clId="{D4113166-57DF-4491-B0B3-8F01CEA07F6E}" dt="2022-03-24T12:12:55.602" v="233" actId="20577"/>
          <ac:spMkLst>
            <pc:docMk/>
            <pc:sldMk cId="1861357430" sldId="347"/>
            <ac:spMk id="5" creationId="{BC5C837C-7D53-4E50-BDC1-752E6FCF03A0}"/>
          </ac:spMkLst>
        </pc:spChg>
      </pc:sldChg>
      <pc:sldChg chg="del">
        <pc:chgData name="Axelsson Jenny" userId="35153831-a041-4e19-963c-026d50be729b" providerId="ADAL" clId="{D4113166-57DF-4491-B0B3-8F01CEA07F6E}" dt="2022-03-21T09:21:05.140" v="7" actId="47"/>
        <pc:sldMkLst>
          <pc:docMk/>
          <pc:sldMk cId="2078479713" sldId="347"/>
        </pc:sldMkLst>
      </pc:sldChg>
      <pc:sldChg chg="modSp new mod ord">
        <pc:chgData name="Axelsson Jenny" userId="35153831-a041-4e19-963c-026d50be729b" providerId="ADAL" clId="{D4113166-57DF-4491-B0B3-8F01CEA07F6E}" dt="2022-03-24T12:12:01.682" v="214"/>
        <pc:sldMkLst>
          <pc:docMk/>
          <pc:sldMk cId="128778050" sldId="348"/>
        </pc:sldMkLst>
        <pc:spChg chg="mod">
          <ac:chgData name="Axelsson Jenny" userId="35153831-a041-4e19-963c-026d50be729b" providerId="ADAL" clId="{D4113166-57DF-4491-B0B3-8F01CEA07F6E}" dt="2022-03-24T12:09:56.724" v="203" actId="20577"/>
          <ac:spMkLst>
            <pc:docMk/>
            <pc:sldMk cId="128778050" sldId="348"/>
            <ac:spMk id="2" creationId="{2EBBB82B-2752-4965-B617-99A1356CD01E}"/>
          </ac:spMkLst>
        </pc:spChg>
        <pc:spChg chg="mod">
          <ac:chgData name="Axelsson Jenny" userId="35153831-a041-4e19-963c-026d50be729b" providerId="ADAL" clId="{D4113166-57DF-4491-B0B3-8F01CEA07F6E}" dt="2022-03-24T12:11:03.891" v="212"/>
          <ac:spMkLst>
            <pc:docMk/>
            <pc:sldMk cId="128778050" sldId="348"/>
            <ac:spMk id="3" creationId="{DB25B184-1704-4BF5-AD49-F2149E8F31BB}"/>
          </ac:spMkLst>
        </pc:spChg>
      </pc:sldChg>
      <pc:sldChg chg="del">
        <pc:chgData name="Axelsson Jenny" userId="35153831-a041-4e19-963c-026d50be729b" providerId="ADAL" clId="{D4113166-57DF-4491-B0B3-8F01CEA07F6E}" dt="2022-03-21T09:21:02.317" v="2" actId="47"/>
        <pc:sldMkLst>
          <pc:docMk/>
          <pc:sldMk cId="659618587" sldId="348"/>
        </pc:sldMkLst>
      </pc:sldChg>
      <pc:sldChg chg="del">
        <pc:chgData name="Axelsson Jenny" userId="35153831-a041-4e19-963c-026d50be729b" providerId="ADAL" clId="{D4113166-57DF-4491-B0B3-8F01CEA07F6E}" dt="2022-03-21T09:21:04.485" v="6" actId="47"/>
        <pc:sldMkLst>
          <pc:docMk/>
          <pc:sldMk cId="366207789" sldId="349"/>
        </pc:sldMkLst>
      </pc:sldChg>
      <pc:sldChg chg="del">
        <pc:chgData name="Axelsson Jenny" userId="35153831-a041-4e19-963c-026d50be729b" providerId="ADAL" clId="{D4113166-57DF-4491-B0B3-8F01CEA07F6E}" dt="2022-03-21T09:21:06.196" v="8" actId="47"/>
        <pc:sldMkLst>
          <pc:docMk/>
          <pc:sldMk cId="1305960437" sldId="350"/>
        </pc:sldMkLst>
      </pc:sldChg>
    </pc:docChg>
  </pc:docChgLst>
  <pc:docChgLst>
    <pc:chgData name="Jonsson Åsa" userId="S::asa.jonsson@inera.se::e7c157ac-c4f4-446a-aea7-2d9507f60b0e" providerId="AD" clId="Web-{5BDACC9E-8EC4-4BFF-AFF9-6306FFAB43DE}"/>
    <pc:docChg chg="modSld">
      <pc:chgData name="Jonsson Åsa" userId="S::asa.jonsson@inera.se::e7c157ac-c4f4-446a-aea7-2d9507f60b0e" providerId="AD" clId="Web-{5BDACC9E-8EC4-4BFF-AFF9-6306FFAB43DE}" dt="2022-01-26T13:28:57.354" v="24" actId="20577"/>
      <pc:docMkLst>
        <pc:docMk/>
      </pc:docMkLst>
      <pc:sldChg chg="modSp">
        <pc:chgData name="Jonsson Åsa" userId="S::asa.jonsson@inera.se::e7c157ac-c4f4-446a-aea7-2d9507f60b0e" providerId="AD" clId="Web-{5BDACC9E-8EC4-4BFF-AFF9-6306FFAB43DE}" dt="2022-01-26T13:28:57.354" v="24" actId="20577"/>
        <pc:sldMkLst>
          <pc:docMk/>
          <pc:sldMk cId="1079766907" sldId="353"/>
        </pc:sldMkLst>
        <pc:spChg chg="mod">
          <ac:chgData name="Jonsson Åsa" userId="S::asa.jonsson@inera.se::e7c157ac-c4f4-446a-aea7-2d9507f60b0e" providerId="AD" clId="Web-{5BDACC9E-8EC4-4BFF-AFF9-6306FFAB43DE}" dt="2022-01-26T13:28:57.354" v="24" actId="20577"/>
          <ac:spMkLst>
            <pc:docMk/>
            <pc:sldMk cId="1079766907" sldId="353"/>
            <ac:spMk id="3" creationId="{6C1B4C16-DD8B-4F29-BBCD-BE86B33D401F}"/>
          </ac:spMkLst>
        </pc:spChg>
      </pc:sldChg>
    </pc:docChg>
  </pc:docChgLst>
  <pc:docChgLst>
    <pc:chgData name="Axelsson Jenny" userId="S::jenny.axelsson@inera.se::35153831-a041-4e19-963c-026d50be729b" providerId="AD" clId="Web-{5A75C73D-0AE9-40E2-A648-9F5680715C9C}"/>
    <pc:docChg chg="addSld modSld">
      <pc:chgData name="Axelsson Jenny" userId="S::jenny.axelsson@inera.se::35153831-a041-4e19-963c-026d50be729b" providerId="AD" clId="Web-{5A75C73D-0AE9-40E2-A648-9F5680715C9C}" dt="2022-01-19T10:15:30.144" v="13" actId="14100"/>
      <pc:docMkLst>
        <pc:docMk/>
      </pc:docMkLst>
      <pc:sldChg chg="addSp delSp modSp new">
        <pc:chgData name="Axelsson Jenny" userId="S::jenny.axelsson@inera.se::35153831-a041-4e19-963c-026d50be729b" providerId="AD" clId="Web-{5A75C73D-0AE9-40E2-A648-9F5680715C9C}" dt="2022-01-19T10:15:30.144" v="13" actId="14100"/>
        <pc:sldMkLst>
          <pc:docMk/>
          <pc:sldMk cId="3360954613" sldId="331"/>
        </pc:sldMkLst>
        <pc:spChg chg="del">
          <ac:chgData name="Axelsson Jenny" userId="S::jenny.axelsson@inera.se::35153831-a041-4e19-963c-026d50be729b" providerId="AD" clId="Web-{5A75C73D-0AE9-40E2-A648-9F5680715C9C}" dt="2022-01-19T10:12:33.586" v="1"/>
          <ac:spMkLst>
            <pc:docMk/>
            <pc:sldMk cId="3360954613" sldId="331"/>
            <ac:spMk id="3" creationId="{6D8CC75D-8CCE-4C35-AD22-1F7E1437843A}"/>
          </ac:spMkLst>
        </pc:spChg>
        <pc:spChg chg="add del mod">
          <ac:chgData name="Axelsson Jenny" userId="S::jenny.axelsson@inera.se::35153831-a041-4e19-963c-026d50be729b" providerId="AD" clId="Web-{5A75C73D-0AE9-40E2-A648-9F5680715C9C}" dt="2022-01-19T10:15:03.721" v="6"/>
          <ac:spMkLst>
            <pc:docMk/>
            <pc:sldMk cId="3360954613" sldId="331"/>
            <ac:spMk id="8" creationId="{32699BF3-CB66-4C6C-8DB4-E174ACE4C95F}"/>
          </ac:spMkLst>
        </pc:spChg>
        <pc:picChg chg="add del mod ord">
          <ac:chgData name="Axelsson Jenny" userId="S::jenny.axelsson@inera.se::35153831-a041-4e19-963c-026d50be729b" providerId="AD" clId="Web-{5A75C73D-0AE9-40E2-A648-9F5680715C9C}" dt="2022-01-19T10:15:01.830" v="5"/>
          <ac:picMkLst>
            <pc:docMk/>
            <pc:sldMk cId="3360954613" sldId="331"/>
            <ac:picMk id="6" creationId="{4A0A25F9-1904-476D-834F-509196A3C6BB}"/>
          </ac:picMkLst>
        </pc:picChg>
        <pc:picChg chg="add mod ord">
          <ac:chgData name="Axelsson Jenny" userId="S::jenny.axelsson@inera.se::35153831-a041-4e19-963c-026d50be729b" providerId="AD" clId="Web-{5A75C73D-0AE9-40E2-A648-9F5680715C9C}" dt="2022-01-19T10:15:30.144" v="13" actId="14100"/>
          <ac:picMkLst>
            <pc:docMk/>
            <pc:sldMk cId="3360954613" sldId="331"/>
            <ac:picMk id="9" creationId="{1BE745B8-CD30-4C0B-B6F2-94ACAEB7E430}"/>
          </ac:picMkLst>
        </pc:picChg>
      </pc:sldChg>
    </pc:docChg>
  </pc:docChgLst>
  <pc:docChgLst>
    <pc:chgData name="Axelsson Jenny" userId="35153831-a041-4e19-963c-026d50be729b" providerId="ADAL" clId="{E13E8E90-C544-49FA-9866-52FD4354F3CB}"/>
    <pc:docChg chg="undo custSel addSld modSld">
      <pc:chgData name="Axelsson Jenny" userId="35153831-a041-4e19-963c-026d50be729b" providerId="ADAL" clId="{E13E8E90-C544-49FA-9866-52FD4354F3CB}" dt="2022-02-04T10:52:01.609" v="2715" actId="20577"/>
      <pc:docMkLst>
        <pc:docMk/>
      </pc:docMkLst>
      <pc:sldChg chg="modSp mod">
        <pc:chgData name="Axelsson Jenny" userId="35153831-a041-4e19-963c-026d50be729b" providerId="ADAL" clId="{E13E8E90-C544-49FA-9866-52FD4354F3CB}" dt="2022-02-03T12:33:15.976" v="67" actId="20577"/>
        <pc:sldMkLst>
          <pc:docMk/>
          <pc:sldMk cId="3738514320" sldId="327"/>
        </pc:sldMkLst>
        <pc:spChg chg="mod">
          <ac:chgData name="Axelsson Jenny" userId="35153831-a041-4e19-963c-026d50be729b" providerId="ADAL" clId="{E13E8E90-C544-49FA-9866-52FD4354F3CB}" dt="2022-02-03T12:33:15.976" v="67" actId="20577"/>
          <ac:spMkLst>
            <pc:docMk/>
            <pc:sldMk cId="3738514320" sldId="327"/>
            <ac:spMk id="5" creationId="{BC5C837C-7D53-4E50-BDC1-752E6FCF03A0}"/>
          </ac:spMkLst>
        </pc:spChg>
      </pc:sldChg>
      <pc:sldChg chg="modSp new mod">
        <pc:chgData name="Axelsson Jenny" userId="35153831-a041-4e19-963c-026d50be729b" providerId="ADAL" clId="{E13E8E90-C544-49FA-9866-52FD4354F3CB}" dt="2022-02-03T13:38:56.257" v="2646" actId="5793"/>
        <pc:sldMkLst>
          <pc:docMk/>
          <pc:sldMk cId="991745743" sldId="343"/>
        </pc:sldMkLst>
        <pc:spChg chg="mod">
          <ac:chgData name="Axelsson Jenny" userId="35153831-a041-4e19-963c-026d50be729b" providerId="ADAL" clId="{E13E8E90-C544-49FA-9866-52FD4354F3CB}" dt="2022-02-03T12:36:27.351" v="305" actId="20577"/>
          <ac:spMkLst>
            <pc:docMk/>
            <pc:sldMk cId="991745743" sldId="343"/>
            <ac:spMk id="2" creationId="{30808123-063B-4DB0-B897-DE5B2B4FF53F}"/>
          </ac:spMkLst>
        </pc:spChg>
        <pc:spChg chg="mod">
          <ac:chgData name="Axelsson Jenny" userId="35153831-a041-4e19-963c-026d50be729b" providerId="ADAL" clId="{E13E8E90-C544-49FA-9866-52FD4354F3CB}" dt="2022-02-03T13:38:56.257" v="2646" actId="5793"/>
          <ac:spMkLst>
            <pc:docMk/>
            <pc:sldMk cId="991745743" sldId="343"/>
            <ac:spMk id="3" creationId="{1ABE8D8A-7659-4E69-AD39-913A87E47500}"/>
          </ac:spMkLst>
        </pc:spChg>
      </pc:sldChg>
      <pc:sldChg chg="modSp new mod">
        <pc:chgData name="Axelsson Jenny" userId="35153831-a041-4e19-963c-026d50be729b" providerId="ADAL" clId="{E13E8E90-C544-49FA-9866-52FD4354F3CB}" dt="2022-02-04T10:52:01.609" v="2715" actId="20577"/>
        <pc:sldMkLst>
          <pc:docMk/>
          <pc:sldMk cId="2556717896" sldId="344"/>
        </pc:sldMkLst>
        <pc:spChg chg="mod">
          <ac:chgData name="Axelsson Jenny" userId="35153831-a041-4e19-963c-026d50be729b" providerId="ADAL" clId="{E13E8E90-C544-49FA-9866-52FD4354F3CB}" dt="2022-02-03T12:56:45.304" v="1844" actId="20577"/>
          <ac:spMkLst>
            <pc:docMk/>
            <pc:sldMk cId="2556717896" sldId="344"/>
            <ac:spMk id="2" creationId="{F173ED68-00AA-4FC3-819C-3693D9E20547}"/>
          </ac:spMkLst>
        </pc:spChg>
        <pc:spChg chg="mod">
          <ac:chgData name="Axelsson Jenny" userId="35153831-a041-4e19-963c-026d50be729b" providerId="ADAL" clId="{E13E8E90-C544-49FA-9866-52FD4354F3CB}" dt="2022-02-04T10:52:01.609" v="2715" actId="20577"/>
          <ac:spMkLst>
            <pc:docMk/>
            <pc:sldMk cId="2556717896" sldId="344"/>
            <ac:spMk id="3" creationId="{D58DB3E1-07BF-4591-BC44-32B12857E59E}"/>
          </ac:spMkLst>
        </pc:spChg>
      </pc:sldChg>
      <pc:sldChg chg="modSp new mod">
        <pc:chgData name="Axelsson Jenny" userId="35153831-a041-4e19-963c-026d50be729b" providerId="ADAL" clId="{E13E8E90-C544-49FA-9866-52FD4354F3CB}" dt="2022-02-03T13:45:13.636" v="2692" actId="20577"/>
        <pc:sldMkLst>
          <pc:docMk/>
          <pc:sldMk cId="3358880838" sldId="345"/>
        </pc:sldMkLst>
        <pc:spChg chg="mod">
          <ac:chgData name="Axelsson Jenny" userId="35153831-a041-4e19-963c-026d50be729b" providerId="ADAL" clId="{E13E8E90-C544-49FA-9866-52FD4354F3CB}" dt="2022-02-03T12:57:09.641" v="1862" actId="20577"/>
          <ac:spMkLst>
            <pc:docMk/>
            <pc:sldMk cId="3358880838" sldId="345"/>
            <ac:spMk id="2" creationId="{96DB65EE-9CDB-4A56-B386-1C54EC2E7430}"/>
          </ac:spMkLst>
        </pc:spChg>
        <pc:spChg chg="mod">
          <ac:chgData name="Axelsson Jenny" userId="35153831-a041-4e19-963c-026d50be729b" providerId="ADAL" clId="{E13E8E90-C544-49FA-9866-52FD4354F3CB}" dt="2022-02-03T13:45:13.636" v="2692" actId="20577"/>
          <ac:spMkLst>
            <pc:docMk/>
            <pc:sldMk cId="3358880838" sldId="345"/>
            <ac:spMk id="3" creationId="{34122CC9-182F-4B4C-A179-EED0DCD9909D}"/>
          </ac:spMkLst>
        </pc:spChg>
      </pc:sldChg>
      <pc:sldChg chg="addSp delSp modSp new mod">
        <pc:chgData name="Axelsson Jenny" userId="35153831-a041-4e19-963c-026d50be729b" providerId="ADAL" clId="{E13E8E90-C544-49FA-9866-52FD4354F3CB}" dt="2022-02-03T13:49:59.125" v="2696" actId="478"/>
        <pc:sldMkLst>
          <pc:docMk/>
          <pc:sldMk cId="415153516" sldId="346"/>
        </pc:sldMkLst>
        <pc:spChg chg="mod">
          <ac:chgData name="Axelsson Jenny" userId="35153831-a041-4e19-963c-026d50be729b" providerId="ADAL" clId="{E13E8E90-C544-49FA-9866-52FD4354F3CB}" dt="2022-02-03T13:37:28.608" v="2525" actId="20577"/>
          <ac:spMkLst>
            <pc:docMk/>
            <pc:sldMk cId="415153516" sldId="346"/>
            <ac:spMk id="2" creationId="{9D201A92-2CBF-460E-9BF4-10D7E8767256}"/>
          </ac:spMkLst>
        </pc:spChg>
        <pc:spChg chg="mod">
          <ac:chgData name="Axelsson Jenny" userId="35153831-a041-4e19-963c-026d50be729b" providerId="ADAL" clId="{E13E8E90-C544-49FA-9866-52FD4354F3CB}" dt="2022-02-03T13:42:21.776" v="2657" actId="6549"/>
          <ac:spMkLst>
            <pc:docMk/>
            <pc:sldMk cId="415153516" sldId="346"/>
            <ac:spMk id="3" creationId="{2CE65C7C-0D66-4AD0-AABA-1B06370EA151}"/>
          </ac:spMkLst>
        </pc:spChg>
        <pc:picChg chg="add del mod">
          <ac:chgData name="Axelsson Jenny" userId="35153831-a041-4e19-963c-026d50be729b" providerId="ADAL" clId="{E13E8E90-C544-49FA-9866-52FD4354F3CB}" dt="2022-02-03T13:49:59.125" v="2696" actId="478"/>
          <ac:picMkLst>
            <pc:docMk/>
            <pc:sldMk cId="415153516" sldId="346"/>
            <ac:picMk id="7" creationId="{98F0F641-1A82-4680-8E2A-E6FDE37B6DED}"/>
          </ac:picMkLst>
        </pc:picChg>
      </pc:sldChg>
      <pc:sldChg chg="addSp modSp new mod">
        <pc:chgData name="Axelsson Jenny" userId="35153831-a041-4e19-963c-026d50be729b" providerId="ADAL" clId="{E13E8E90-C544-49FA-9866-52FD4354F3CB}" dt="2022-02-03T15:34:11.229" v="2700" actId="1076"/>
        <pc:sldMkLst>
          <pc:docMk/>
          <pc:sldMk cId="2078479713" sldId="347"/>
        </pc:sldMkLst>
        <pc:spChg chg="mod">
          <ac:chgData name="Axelsson Jenny" userId="35153831-a041-4e19-963c-026d50be729b" providerId="ADAL" clId="{E13E8E90-C544-49FA-9866-52FD4354F3CB}" dt="2022-02-03T13:37:49.498" v="2540" actId="20577"/>
          <ac:spMkLst>
            <pc:docMk/>
            <pc:sldMk cId="2078479713" sldId="347"/>
            <ac:spMk id="2" creationId="{58388996-4E64-44DE-BFE6-620FDF871742}"/>
          </ac:spMkLst>
        </pc:spChg>
        <pc:spChg chg="mod">
          <ac:chgData name="Axelsson Jenny" userId="35153831-a041-4e19-963c-026d50be729b" providerId="ADAL" clId="{E13E8E90-C544-49FA-9866-52FD4354F3CB}" dt="2022-02-03T13:38:09.687" v="2643" actId="20577"/>
          <ac:spMkLst>
            <pc:docMk/>
            <pc:sldMk cId="2078479713" sldId="347"/>
            <ac:spMk id="3" creationId="{23652AF7-1B53-4D9D-A1DF-56850DC8BBAE}"/>
          </ac:spMkLst>
        </pc:spChg>
        <pc:picChg chg="add mod">
          <ac:chgData name="Axelsson Jenny" userId="35153831-a041-4e19-963c-026d50be729b" providerId="ADAL" clId="{E13E8E90-C544-49FA-9866-52FD4354F3CB}" dt="2022-02-03T15:34:11.229" v="2700" actId="1076"/>
          <ac:picMkLst>
            <pc:docMk/>
            <pc:sldMk cId="2078479713" sldId="347"/>
            <ac:picMk id="7" creationId="{A1BF30CB-A6C3-4113-B4AB-94E62AAFB4A1}"/>
          </ac:picMkLst>
        </pc:picChg>
      </pc:sldChg>
      <pc:sldChg chg="addSp delSp modSp new mod">
        <pc:chgData name="Axelsson Jenny" userId="35153831-a041-4e19-963c-026d50be729b" providerId="ADAL" clId="{E13E8E90-C544-49FA-9866-52FD4354F3CB}" dt="2022-02-03T13:40:34.887" v="2652" actId="1076"/>
        <pc:sldMkLst>
          <pc:docMk/>
          <pc:sldMk cId="659618587" sldId="348"/>
        </pc:sldMkLst>
        <pc:spChg chg="mod">
          <ac:chgData name="Axelsson Jenny" userId="35153831-a041-4e19-963c-026d50be729b" providerId="ADAL" clId="{E13E8E90-C544-49FA-9866-52FD4354F3CB}" dt="2022-02-03T13:38:20.007" v="2645"/>
          <ac:spMkLst>
            <pc:docMk/>
            <pc:sldMk cId="659618587" sldId="348"/>
            <ac:spMk id="2" creationId="{4E9DC019-8C6D-4C51-BE4D-C81F9254736F}"/>
          </ac:spMkLst>
        </pc:spChg>
        <pc:spChg chg="del">
          <ac:chgData name="Axelsson Jenny" userId="35153831-a041-4e19-963c-026d50be729b" providerId="ADAL" clId="{E13E8E90-C544-49FA-9866-52FD4354F3CB}" dt="2022-02-03T13:40:24.418" v="2647" actId="22"/>
          <ac:spMkLst>
            <pc:docMk/>
            <pc:sldMk cId="659618587" sldId="348"/>
            <ac:spMk id="3" creationId="{951D0F30-2FB9-4864-B340-5D6206E29EB5}"/>
          </ac:spMkLst>
        </pc:spChg>
        <pc:picChg chg="add mod ord">
          <ac:chgData name="Axelsson Jenny" userId="35153831-a041-4e19-963c-026d50be729b" providerId="ADAL" clId="{E13E8E90-C544-49FA-9866-52FD4354F3CB}" dt="2022-02-03T13:40:34.887" v="2652" actId="1076"/>
          <ac:picMkLst>
            <pc:docMk/>
            <pc:sldMk cId="659618587" sldId="348"/>
            <ac:picMk id="7" creationId="{D90475FF-B6B9-496C-8EF3-0481B8A4E3C9}"/>
          </ac:picMkLst>
        </pc:picChg>
      </pc:sldChg>
      <pc:sldChg chg="addSp delSp modSp new mod">
        <pc:chgData name="Axelsson Jenny" userId="35153831-a041-4e19-963c-026d50be729b" providerId="ADAL" clId="{E13E8E90-C544-49FA-9866-52FD4354F3CB}" dt="2022-02-03T13:50:06.235" v="2698" actId="478"/>
        <pc:sldMkLst>
          <pc:docMk/>
          <pc:sldMk cId="366207789" sldId="349"/>
        </pc:sldMkLst>
        <pc:spChg chg="del">
          <ac:chgData name="Axelsson Jenny" userId="35153831-a041-4e19-963c-026d50be729b" providerId="ADAL" clId="{E13E8E90-C544-49FA-9866-52FD4354F3CB}" dt="2022-02-03T13:50:06.235" v="2698" actId="478"/>
          <ac:spMkLst>
            <pc:docMk/>
            <pc:sldMk cId="366207789" sldId="349"/>
            <ac:spMk id="2" creationId="{2686B3CA-9D6A-42F8-A0FC-13AF38AC15E4}"/>
          </ac:spMkLst>
        </pc:spChg>
        <pc:picChg chg="add mod">
          <ac:chgData name="Axelsson Jenny" userId="35153831-a041-4e19-963c-026d50be729b" providerId="ADAL" clId="{E13E8E90-C544-49FA-9866-52FD4354F3CB}" dt="2022-02-03T13:50:01.105" v="2697"/>
          <ac:picMkLst>
            <pc:docMk/>
            <pc:sldMk cId="366207789" sldId="349"/>
            <ac:picMk id="6" creationId="{48E75168-7435-447C-8E67-734D4BC5143B}"/>
          </ac:picMkLst>
        </pc:picChg>
      </pc:sldChg>
      <pc:sldChg chg="addSp delSp modSp new mod">
        <pc:chgData name="Axelsson Jenny" userId="35153831-a041-4e19-963c-026d50be729b" providerId="ADAL" clId="{E13E8E90-C544-49FA-9866-52FD4354F3CB}" dt="2022-02-03T15:35:09.988" v="2706" actId="1076"/>
        <pc:sldMkLst>
          <pc:docMk/>
          <pc:sldMk cId="1305960437" sldId="350"/>
        </pc:sldMkLst>
        <pc:spChg chg="del">
          <ac:chgData name="Axelsson Jenny" userId="35153831-a041-4e19-963c-026d50be729b" providerId="ADAL" clId="{E13E8E90-C544-49FA-9866-52FD4354F3CB}" dt="2022-02-03T15:34:58.687" v="2703" actId="478"/>
          <ac:spMkLst>
            <pc:docMk/>
            <pc:sldMk cId="1305960437" sldId="350"/>
            <ac:spMk id="2" creationId="{CEFDFF8A-D065-4E60-8BEC-CDB1AFE87E3D}"/>
          </ac:spMkLst>
        </pc:spChg>
        <pc:spChg chg="del">
          <ac:chgData name="Axelsson Jenny" userId="35153831-a041-4e19-963c-026d50be729b" providerId="ADAL" clId="{E13E8E90-C544-49FA-9866-52FD4354F3CB}" dt="2022-02-03T15:34:56.020" v="2702" actId="22"/>
          <ac:spMkLst>
            <pc:docMk/>
            <pc:sldMk cId="1305960437" sldId="350"/>
            <ac:spMk id="3" creationId="{34F94326-D6A2-48B1-9C49-36E3BE24D60C}"/>
          </ac:spMkLst>
        </pc:spChg>
        <pc:picChg chg="add mod ord">
          <ac:chgData name="Axelsson Jenny" userId="35153831-a041-4e19-963c-026d50be729b" providerId="ADAL" clId="{E13E8E90-C544-49FA-9866-52FD4354F3CB}" dt="2022-02-03T15:35:09.988" v="2706" actId="1076"/>
          <ac:picMkLst>
            <pc:docMk/>
            <pc:sldMk cId="1305960437" sldId="350"/>
            <ac:picMk id="7" creationId="{4F395D41-7E33-4A3A-B672-CFABC2BB05BB}"/>
          </ac:picMkLst>
        </pc:picChg>
      </pc:sldChg>
    </pc:docChg>
  </pc:docChgLst>
  <pc:docChgLst>
    <pc:chgData name="Axelsson Jenny" userId="35153831-a041-4e19-963c-026d50be729b" providerId="ADAL" clId="{92A2C269-4D73-4F79-8AAD-4B3B6DD790D7}"/>
    <pc:docChg chg="undo redo custSel addSld delSld modSld sldOrd delMainMaster">
      <pc:chgData name="Axelsson Jenny" userId="35153831-a041-4e19-963c-026d50be729b" providerId="ADAL" clId="{92A2C269-4D73-4F79-8AAD-4B3B6DD790D7}" dt="2022-05-19T14:51:50.365" v="2825"/>
      <pc:docMkLst>
        <pc:docMk/>
      </pc:docMkLst>
      <pc:sldChg chg="modSp add del mod">
        <pc:chgData name="Axelsson Jenny" userId="35153831-a041-4e19-963c-026d50be729b" providerId="ADAL" clId="{92A2C269-4D73-4F79-8AAD-4B3B6DD790D7}" dt="2022-05-16T09:43:15.792" v="1982" actId="47"/>
        <pc:sldMkLst>
          <pc:docMk/>
          <pc:sldMk cId="3047511699" sldId="260"/>
        </pc:sldMkLst>
        <pc:spChg chg="mod">
          <ac:chgData name="Axelsson Jenny" userId="35153831-a041-4e19-963c-026d50be729b" providerId="ADAL" clId="{92A2C269-4D73-4F79-8AAD-4B3B6DD790D7}" dt="2022-05-13T13:55:53.138" v="130" actId="113"/>
          <ac:spMkLst>
            <pc:docMk/>
            <pc:sldMk cId="3047511699" sldId="260"/>
            <ac:spMk id="146" creationId="{00000000-0000-0000-0000-000000000000}"/>
          </ac:spMkLst>
        </pc:spChg>
      </pc:sldChg>
      <pc:sldChg chg="addSp delSp modSp add mod">
        <pc:chgData name="Axelsson Jenny" userId="35153831-a041-4e19-963c-026d50be729b" providerId="ADAL" clId="{92A2C269-4D73-4F79-8AAD-4B3B6DD790D7}" dt="2022-05-16T09:45:06.085" v="1996" actId="1076"/>
        <pc:sldMkLst>
          <pc:docMk/>
          <pc:sldMk cId="366102927" sldId="261"/>
        </pc:sldMkLst>
        <pc:spChg chg="mod">
          <ac:chgData name="Axelsson Jenny" userId="35153831-a041-4e19-963c-026d50be729b" providerId="ADAL" clId="{92A2C269-4D73-4F79-8AAD-4B3B6DD790D7}" dt="2022-05-13T15:11:41.467" v="1253" actId="20577"/>
          <ac:spMkLst>
            <pc:docMk/>
            <pc:sldMk cId="366102927" sldId="261"/>
            <ac:spMk id="153" creationId="{00000000-0000-0000-0000-000000000000}"/>
          </ac:spMkLst>
        </pc:spChg>
        <pc:picChg chg="mod">
          <ac:chgData name="Axelsson Jenny" userId="35153831-a041-4e19-963c-026d50be729b" providerId="ADAL" clId="{92A2C269-4D73-4F79-8AAD-4B3B6DD790D7}" dt="2022-05-16T09:45:06.085" v="1996" actId="1076"/>
          <ac:picMkLst>
            <pc:docMk/>
            <pc:sldMk cId="366102927" sldId="261"/>
            <ac:picMk id="2" creationId="{C111AF2E-F1E0-7447-9DC9-007C3866B8A3}"/>
          </ac:picMkLst>
        </pc:picChg>
        <pc:picChg chg="add del mod">
          <ac:chgData name="Axelsson Jenny" userId="35153831-a041-4e19-963c-026d50be729b" providerId="ADAL" clId="{92A2C269-4D73-4F79-8AAD-4B3B6DD790D7}" dt="2022-05-13T15:11:13.894" v="1215"/>
          <ac:picMkLst>
            <pc:docMk/>
            <pc:sldMk cId="366102927" sldId="261"/>
            <ac:picMk id="7" creationId="{626A1EA3-9507-4EBA-8410-12DB151865CC}"/>
          </ac:picMkLst>
        </pc:picChg>
      </pc:sldChg>
      <pc:sldChg chg="modSp del mod">
        <pc:chgData name="Axelsson Jenny" userId="35153831-a041-4e19-963c-026d50be729b" providerId="ADAL" clId="{92A2C269-4D73-4F79-8AAD-4B3B6DD790D7}" dt="2022-05-13T13:28:54.901" v="102" actId="47"/>
        <pc:sldMkLst>
          <pc:docMk/>
          <pc:sldMk cId="1036871477" sldId="264"/>
        </pc:sldMkLst>
        <pc:spChg chg="mod">
          <ac:chgData name="Axelsson Jenny" userId="35153831-a041-4e19-963c-026d50be729b" providerId="ADAL" clId="{92A2C269-4D73-4F79-8AAD-4B3B6DD790D7}" dt="2022-05-13T13:28:52.743" v="101" actId="6549"/>
          <ac:spMkLst>
            <pc:docMk/>
            <pc:sldMk cId="1036871477" sldId="264"/>
            <ac:spMk id="3" creationId="{3E215758-AD04-4783-8B7A-EA30D128D138}"/>
          </ac:spMkLst>
        </pc:spChg>
      </pc:sldChg>
      <pc:sldChg chg="modSp add mod">
        <pc:chgData name="Axelsson Jenny" userId="35153831-a041-4e19-963c-026d50be729b" providerId="ADAL" clId="{92A2C269-4D73-4F79-8AAD-4B3B6DD790D7}" dt="2022-05-16T09:45:18.821" v="1999" actId="1076"/>
        <pc:sldMkLst>
          <pc:docMk/>
          <pc:sldMk cId="2646210160" sldId="265"/>
        </pc:sldMkLst>
        <pc:spChg chg="mod">
          <ac:chgData name="Axelsson Jenny" userId="35153831-a041-4e19-963c-026d50be729b" providerId="ADAL" clId="{92A2C269-4D73-4F79-8AAD-4B3B6DD790D7}" dt="2022-05-13T13:59:37.959" v="148" actId="20577"/>
          <ac:spMkLst>
            <pc:docMk/>
            <pc:sldMk cId="2646210160" sldId="265"/>
            <ac:spMk id="153" creationId="{00000000-0000-0000-0000-000000000000}"/>
          </ac:spMkLst>
        </pc:spChg>
        <pc:picChg chg="mod">
          <ac:chgData name="Axelsson Jenny" userId="35153831-a041-4e19-963c-026d50be729b" providerId="ADAL" clId="{92A2C269-4D73-4F79-8AAD-4B3B6DD790D7}" dt="2022-05-16T09:45:18.821" v="1999" actId="1076"/>
          <ac:picMkLst>
            <pc:docMk/>
            <pc:sldMk cId="2646210160" sldId="265"/>
            <ac:picMk id="2" creationId="{EBCD5EC7-34FB-0741-9EEC-2B51084F4FCE}"/>
          </ac:picMkLst>
        </pc:picChg>
      </pc:sldChg>
      <pc:sldChg chg="add del">
        <pc:chgData name="Axelsson Jenny" userId="35153831-a041-4e19-963c-026d50be729b" providerId="ADAL" clId="{92A2C269-4D73-4F79-8AAD-4B3B6DD790D7}" dt="2022-05-13T13:58:47.762" v="133" actId="47"/>
        <pc:sldMkLst>
          <pc:docMk/>
          <pc:sldMk cId="3706863027" sldId="273"/>
        </pc:sldMkLst>
      </pc:sldChg>
      <pc:sldChg chg="addSp delSp modSp add mod modClrScheme chgLayout">
        <pc:chgData name="Axelsson Jenny" userId="35153831-a041-4e19-963c-026d50be729b" providerId="ADAL" clId="{92A2C269-4D73-4F79-8AAD-4B3B6DD790D7}" dt="2022-05-13T15:15:45.706" v="1392" actId="1076"/>
        <pc:sldMkLst>
          <pc:docMk/>
          <pc:sldMk cId="866322139" sldId="276"/>
        </pc:sldMkLst>
        <pc:spChg chg="add del mod ord">
          <ac:chgData name="Axelsson Jenny" userId="35153831-a041-4e19-963c-026d50be729b" providerId="ADAL" clId="{92A2C269-4D73-4F79-8AAD-4B3B6DD790D7}" dt="2022-05-13T13:54:35.358" v="118" actId="478"/>
          <ac:spMkLst>
            <pc:docMk/>
            <pc:sldMk cId="866322139" sldId="276"/>
            <ac:spMk id="2" creationId="{D194BC04-C0DD-4319-8B3C-52D55F325672}"/>
          </ac:spMkLst>
        </pc:spChg>
        <pc:spChg chg="mod">
          <ac:chgData name="Axelsson Jenny" userId="35153831-a041-4e19-963c-026d50be729b" providerId="ADAL" clId="{92A2C269-4D73-4F79-8AAD-4B3B6DD790D7}" dt="2022-05-13T15:13:44.610" v="1359" actId="1076"/>
          <ac:spMkLst>
            <pc:docMk/>
            <pc:sldMk cId="866322139" sldId="276"/>
            <ac:spMk id="3" creationId="{2696F7AE-D81B-BF48-ABF0-7D7AEB5C04A5}"/>
          </ac:spMkLst>
        </pc:spChg>
        <pc:spChg chg="add del mod ord">
          <ac:chgData name="Axelsson Jenny" userId="35153831-a041-4e19-963c-026d50be729b" providerId="ADAL" clId="{92A2C269-4D73-4F79-8AAD-4B3B6DD790D7}" dt="2022-05-13T13:54:30.145" v="117" actId="478"/>
          <ac:spMkLst>
            <pc:docMk/>
            <pc:sldMk cId="866322139" sldId="276"/>
            <ac:spMk id="4" creationId="{F1F9DCE8-DEC6-4401-9CAB-BAA790C8AC09}"/>
          </ac:spMkLst>
        </pc:spChg>
        <pc:spChg chg="add del mod">
          <ac:chgData name="Axelsson Jenny" userId="35153831-a041-4e19-963c-026d50be729b" providerId="ADAL" clId="{92A2C269-4D73-4F79-8AAD-4B3B6DD790D7}" dt="2022-05-13T15:14:32.723" v="1381" actId="478"/>
          <ac:spMkLst>
            <pc:docMk/>
            <pc:sldMk cId="866322139" sldId="276"/>
            <ac:spMk id="6" creationId="{45BEF443-5BB7-42D9-8BDC-755FB21FBE55}"/>
          </ac:spMkLst>
        </pc:spChg>
        <pc:spChg chg="mod">
          <ac:chgData name="Axelsson Jenny" userId="35153831-a041-4e19-963c-026d50be729b" providerId="ADAL" clId="{92A2C269-4D73-4F79-8AAD-4B3B6DD790D7}" dt="2022-05-13T15:15:45.706" v="1392" actId="1076"/>
          <ac:spMkLst>
            <pc:docMk/>
            <pc:sldMk cId="866322139" sldId="276"/>
            <ac:spMk id="7" creationId="{0DE6AC7E-58BC-3A40-BBD9-936D9A24FAF5}"/>
          </ac:spMkLst>
        </pc:spChg>
        <pc:spChg chg="add mod">
          <ac:chgData name="Axelsson Jenny" userId="35153831-a041-4e19-963c-026d50be729b" providerId="ADAL" clId="{92A2C269-4D73-4F79-8AAD-4B3B6DD790D7}" dt="2022-05-13T15:15:39.186" v="1391" actId="1076"/>
          <ac:spMkLst>
            <pc:docMk/>
            <pc:sldMk cId="866322139" sldId="276"/>
            <ac:spMk id="11" creationId="{F231958F-2C4E-47FC-A99C-3BA0A9C186FF}"/>
          </ac:spMkLst>
        </pc:spChg>
        <pc:spChg chg="del mod ord">
          <ac:chgData name="Axelsson Jenny" userId="35153831-a041-4e19-963c-026d50be729b" providerId="ADAL" clId="{92A2C269-4D73-4F79-8AAD-4B3B6DD790D7}" dt="2022-05-13T15:14:30.450" v="1380" actId="478"/>
          <ac:spMkLst>
            <pc:docMk/>
            <pc:sldMk cId="866322139" sldId="276"/>
            <ac:spMk id="241" creationId="{00000000-0000-0000-0000-000000000000}"/>
          </ac:spMkLst>
        </pc:spChg>
        <pc:spChg chg="del mod ord">
          <ac:chgData name="Axelsson Jenny" userId="35153831-a041-4e19-963c-026d50be729b" providerId="ADAL" clId="{92A2C269-4D73-4F79-8AAD-4B3B6DD790D7}" dt="2022-05-13T13:54:25.138" v="116" actId="700"/>
          <ac:spMkLst>
            <pc:docMk/>
            <pc:sldMk cId="866322139" sldId="276"/>
            <ac:spMk id="242" creationId="{00000000-0000-0000-0000-000000000000}"/>
          </ac:spMkLst>
        </pc:spChg>
        <pc:picChg chg="del">
          <ac:chgData name="Axelsson Jenny" userId="35153831-a041-4e19-963c-026d50be729b" providerId="ADAL" clId="{92A2C269-4D73-4F79-8AAD-4B3B6DD790D7}" dt="2022-05-13T15:14:22.132" v="1378" actId="478"/>
          <ac:picMkLst>
            <pc:docMk/>
            <pc:sldMk cId="866322139" sldId="276"/>
            <ac:picMk id="8" creationId="{CA003111-4CAC-904E-B6D8-F6A1C383088D}"/>
          </ac:picMkLst>
        </pc:picChg>
        <pc:picChg chg="del mod">
          <ac:chgData name="Axelsson Jenny" userId="35153831-a041-4e19-963c-026d50be729b" providerId="ADAL" clId="{92A2C269-4D73-4F79-8AAD-4B3B6DD790D7}" dt="2022-05-13T15:14:21.084" v="1377" actId="21"/>
          <ac:picMkLst>
            <pc:docMk/>
            <pc:sldMk cId="866322139" sldId="276"/>
            <ac:picMk id="9" creationId="{343E8734-8D0C-2643-9F31-A40518BB4C64}"/>
          </ac:picMkLst>
        </pc:picChg>
        <pc:picChg chg="add mod modCrop">
          <ac:chgData name="Axelsson Jenny" userId="35153831-a041-4e19-963c-026d50be729b" providerId="ADAL" clId="{92A2C269-4D73-4F79-8AAD-4B3B6DD790D7}" dt="2022-05-13T15:15:24.018" v="1390" actId="14100"/>
          <ac:picMkLst>
            <pc:docMk/>
            <pc:sldMk cId="866322139" sldId="276"/>
            <ac:picMk id="14" creationId="{B2821A97-9F95-461F-8E12-B06100416391}"/>
          </ac:picMkLst>
        </pc:picChg>
        <pc:picChg chg="del">
          <ac:chgData name="Axelsson Jenny" userId="35153831-a041-4e19-963c-026d50be729b" providerId="ADAL" clId="{92A2C269-4D73-4F79-8AAD-4B3B6DD790D7}" dt="2022-05-13T15:14:27.136" v="1379" actId="478"/>
          <ac:picMkLst>
            <pc:docMk/>
            <pc:sldMk cId="866322139" sldId="276"/>
            <ac:picMk id="243" creationId="{00000000-0000-0000-0000-000000000000}"/>
          </ac:picMkLst>
        </pc:picChg>
      </pc:sldChg>
      <pc:sldChg chg="addSp delSp modSp add mod modClrScheme chgLayout">
        <pc:chgData name="Axelsson Jenny" userId="35153831-a041-4e19-963c-026d50be729b" providerId="ADAL" clId="{92A2C269-4D73-4F79-8AAD-4B3B6DD790D7}" dt="2022-05-16T09:46:14.236" v="2019" actId="14100"/>
        <pc:sldMkLst>
          <pc:docMk/>
          <pc:sldMk cId="3241257618" sldId="277"/>
        </pc:sldMkLst>
        <pc:spChg chg="add del mod ord">
          <ac:chgData name="Axelsson Jenny" userId="35153831-a041-4e19-963c-026d50be729b" providerId="ADAL" clId="{92A2C269-4D73-4F79-8AAD-4B3B6DD790D7}" dt="2022-05-13T13:54:45.432" v="120" actId="478"/>
          <ac:spMkLst>
            <pc:docMk/>
            <pc:sldMk cId="3241257618" sldId="277"/>
            <ac:spMk id="2" creationId="{A1647E1B-8E9B-4F80-BC3A-81386CDBA9F8}"/>
          </ac:spMkLst>
        </pc:spChg>
        <pc:spChg chg="mod">
          <ac:chgData name="Axelsson Jenny" userId="35153831-a041-4e19-963c-026d50be729b" providerId="ADAL" clId="{92A2C269-4D73-4F79-8AAD-4B3B6DD790D7}" dt="2022-05-13T14:06:24.569" v="302" actId="20577"/>
          <ac:spMkLst>
            <pc:docMk/>
            <pc:sldMk cId="3241257618" sldId="277"/>
            <ac:spMk id="3" creationId="{2696F7AE-D81B-BF48-ABF0-7D7AEB5C04A5}"/>
          </ac:spMkLst>
        </pc:spChg>
        <pc:spChg chg="add del mod ord">
          <ac:chgData name="Axelsson Jenny" userId="35153831-a041-4e19-963c-026d50be729b" providerId="ADAL" clId="{92A2C269-4D73-4F79-8AAD-4B3B6DD790D7}" dt="2022-05-13T13:54:46.786" v="121" actId="478"/>
          <ac:spMkLst>
            <pc:docMk/>
            <pc:sldMk cId="3241257618" sldId="277"/>
            <ac:spMk id="4" creationId="{27D2B656-D5A5-4EC1-8905-8B204CF35130}"/>
          </ac:spMkLst>
        </pc:spChg>
        <pc:spChg chg="add mod">
          <ac:chgData name="Axelsson Jenny" userId="35153831-a041-4e19-963c-026d50be729b" providerId="ADAL" clId="{92A2C269-4D73-4F79-8AAD-4B3B6DD790D7}" dt="2022-05-16T09:46:14.236" v="2019" actId="14100"/>
          <ac:spMkLst>
            <pc:docMk/>
            <pc:sldMk cId="3241257618" sldId="277"/>
            <ac:spMk id="9" creationId="{C7F0A9AE-9E9C-466E-9CAC-BB3BC7C8EDFD}"/>
          </ac:spMkLst>
        </pc:spChg>
        <pc:spChg chg="mod ord">
          <ac:chgData name="Axelsson Jenny" userId="35153831-a041-4e19-963c-026d50be729b" providerId="ADAL" clId="{92A2C269-4D73-4F79-8AAD-4B3B6DD790D7}" dt="2022-05-13T13:54:43.237" v="119" actId="700"/>
          <ac:spMkLst>
            <pc:docMk/>
            <pc:sldMk cId="3241257618" sldId="277"/>
            <ac:spMk id="241" creationId="{00000000-0000-0000-0000-000000000000}"/>
          </ac:spMkLst>
        </pc:spChg>
        <pc:spChg chg="del mod ord">
          <ac:chgData name="Axelsson Jenny" userId="35153831-a041-4e19-963c-026d50be729b" providerId="ADAL" clId="{92A2C269-4D73-4F79-8AAD-4B3B6DD790D7}" dt="2022-05-13T13:54:43.237" v="119" actId="700"/>
          <ac:spMkLst>
            <pc:docMk/>
            <pc:sldMk cId="3241257618" sldId="277"/>
            <ac:spMk id="242" creationId="{00000000-0000-0000-0000-000000000000}"/>
          </ac:spMkLst>
        </pc:spChg>
      </pc:sldChg>
      <pc:sldChg chg="addSp delSp modSp add mod modClrScheme chgLayout">
        <pc:chgData name="Axelsson Jenny" userId="35153831-a041-4e19-963c-026d50be729b" providerId="ADAL" clId="{92A2C269-4D73-4F79-8AAD-4B3B6DD790D7}" dt="2022-05-13T15:25:28.341" v="1798" actId="20577"/>
        <pc:sldMkLst>
          <pc:docMk/>
          <pc:sldMk cId="2546351953" sldId="282"/>
        </pc:sldMkLst>
        <pc:spChg chg="add del mod ord">
          <ac:chgData name="Axelsson Jenny" userId="35153831-a041-4e19-963c-026d50be729b" providerId="ADAL" clId="{92A2C269-4D73-4F79-8AAD-4B3B6DD790D7}" dt="2022-05-13T14:10:31.243" v="364" actId="478"/>
          <ac:spMkLst>
            <pc:docMk/>
            <pc:sldMk cId="2546351953" sldId="282"/>
            <ac:spMk id="2" creationId="{35CBA7B1-CB83-40DE-9451-0BD8C2A9F8B2}"/>
          </ac:spMkLst>
        </pc:spChg>
        <pc:spChg chg="mod">
          <ac:chgData name="Axelsson Jenny" userId="35153831-a041-4e19-963c-026d50be729b" providerId="ADAL" clId="{92A2C269-4D73-4F79-8AAD-4B3B6DD790D7}" dt="2022-05-13T15:25:28.341" v="1798" actId="20577"/>
          <ac:spMkLst>
            <pc:docMk/>
            <pc:sldMk cId="2546351953" sldId="282"/>
            <ac:spMk id="3" creationId="{2696F7AE-D81B-BF48-ABF0-7D7AEB5C04A5}"/>
          </ac:spMkLst>
        </pc:spChg>
        <pc:spChg chg="add del mod ord">
          <ac:chgData name="Axelsson Jenny" userId="35153831-a041-4e19-963c-026d50be729b" providerId="ADAL" clId="{92A2C269-4D73-4F79-8AAD-4B3B6DD790D7}" dt="2022-05-13T14:10:29.879" v="363" actId="478"/>
          <ac:spMkLst>
            <pc:docMk/>
            <pc:sldMk cId="2546351953" sldId="282"/>
            <ac:spMk id="4" creationId="{256483CF-271D-4207-9CAA-75B1404EC69B}"/>
          </ac:spMkLst>
        </pc:spChg>
        <pc:spChg chg="mod ord">
          <ac:chgData name="Axelsson Jenny" userId="35153831-a041-4e19-963c-026d50be729b" providerId="ADAL" clId="{92A2C269-4D73-4F79-8AAD-4B3B6DD790D7}" dt="2022-05-13T14:10:38.130" v="366" actId="1076"/>
          <ac:spMkLst>
            <pc:docMk/>
            <pc:sldMk cId="2546351953" sldId="282"/>
            <ac:spMk id="241" creationId="{00000000-0000-0000-0000-000000000000}"/>
          </ac:spMkLst>
        </pc:spChg>
        <pc:spChg chg="del mod ord">
          <ac:chgData name="Axelsson Jenny" userId="35153831-a041-4e19-963c-026d50be729b" providerId="ADAL" clId="{92A2C269-4D73-4F79-8AAD-4B3B6DD790D7}" dt="2022-05-13T14:10:27.219" v="362" actId="700"/>
          <ac:spMkLst>
            <pc:docMk/>
            <pc:sldMk cId="2546351953" sldId="282"/>
            <ac:spMk id="242" creationId="{00000000-0000-0000-0000-000000000000}"/>
          </ac:spMkLst>
        </pc:spChg>
        <pc:picChg chg="mod">
          <ac:chgData name="Axelsson Jenny" userId="35153831-a041-4e19-963c-026d50be729b" providerId="ADAL" clId="{92A2C269-4D73-4F79-8AAD-4B3B6DD790D7}" dt="2022-05-13T14:10:35.871" v="365" actId="1076"/>
          <ac:picMkLst>
            <pc:docMk/>
            <pc:sldMk cId="2546351953" sldId="282"/>
            <ac:picMk id="9218" creationId="{DD0EF37A-F43F-0940-A1A5-3A72E5E0E857}"/>
          </ac:picMkLst>
        </pc:picChg>
      </pc:sldChg>
      <pc:sldChg chg="modSp add mod">
        <pc:chgData name="Axelsson Jenny" userId="35153831-a041-4e19-963c-026d50be729b" providerId="ADAL" clId="{92A2C269-4D73-4F79-8AAD-4B3B6DD790D7}" dt="2022-05-18T07:22:21.615" v="2758" actId="14100"/>
        <pc:sldMkLst>
          <pc:docMk/>
          <pc:sldMk cId="1680720300" sldId="286"/>
        </pc:sldMkLst>
        <pc:spChg chg="mod">
          <ac:chgData name="Axelsson Jenny" userId="35153831-a041-4e19-963c-026d50be729b" providerId="ADAL" clId="{92A2C269-4D73-4F79-8AAD-4B3B6DD790D7}" dt="2022-05-18T07:21:47.319" v="2756" actId="20577"/>
          <ac:spMkLst>
            <pc:docMk/>
            <pc:sldMk cId="1680720300" sldId="286"/>
            <ac:spMk id="355" creationId="{00000000-0000-0000-0000-000000000000}"/>
          </ac:spMkLst>
        </pc:spChg>
        <pc:spChg chg="mod">
          <ac:chgData name="Axelsson Jenny" userId="35153831-a041-4e19-963c-026d50be729b" providerId="ADAL" clId="{92A2C269-4D73-4F79-8AAD-4B3B6DD790D7}" dt="2022-05-13T14:10:07.779" v="360"/>
          <ac:spMkLst>
            <pc:docMk/>
            <pc:sldMk cId="1680720300" sldId="286"/>
            <ac:spMk id="356" creationId="{00000000-0000-0000-0000-000000000000}"/>
          </ac:spMkLst>
        </pc:spChg>
        <pc:spChg chg="mod">
          <ac:chgData name="Axelsson Jenny" userId="35153831-a041-4e19-963c-026d50be729b" providerId="ADAL" clId="{92A2C269-4D73-4F79-8AAD-4B3B6DD790D7}" dt="2022-05-18T07:22:21.615" v="2758" actId="14100"/>
          <ac:spMkLst>
            <pc:docMk/>
            <pc:sldMk cId="1680720300" sldId="286"/>
            <ac:spMk id="357" creationId="{00000000-0000-0000-0000-000000000000}"/>
          </ac:spMkLst>
        </pc:spChg>
        <pc:grpChg chg="mod">
          <ac:chgData name="Axelsson Jenny" userId="35153831-a041-4e19-963c-026d50be729b" providerId="ADAL" clId="{92A2C269-4D73-4F79-8AAD-4B3B6DD790D7}" dt="2022-05-18T07:22:15.935" v="2757" actId="1076"/>
          <ac:grpSpMkLst>
            <pc:docMk/>
            <pc:sldMk cId="1680720300" sldId="286"/>
            <ac:grpSpMk id="3" creationId="{83F59C45-2878-6043-AB4A-0DD64B884F70}"/>
          </ac:grpSpMkLst>
        </pc:grpChg>
      </pc:sldChg>
      <pc:sldChg chg="addSp delSp modSp add mod modClrScheme chgLayout">
        <pc:chgData name="Axelsson Jenny" userId="35153831-a041-4e19-963c-026d50be729b" providerId="ADAL" clId="{92A2C269-4D73-4F79-8AAD-4B3B6DD790D7}" dt="2022-05-17T07:41:53.085" v="2544" actId="20577"/>
        <pc:sldMkLst>
          <pc:docMk/>
          <pc:sldMk cId="828096674" sldId="289"/>
        </pc:sldMkLst>
        <pc:spChg chg="add del mod ord">
          <ac:chgData name="Axelsson Jenny" userId="35153831-a041-4e19-963c-026d50be729b" providerId="ADAL" clId="{92A2C269-4D73-4F79-8AAD-4B3B6DD790D7}" dt="2022-05-13T14:08:59.627" v="357" actId="478"/>
          <ac:spMkLst>
            <pc:docMk/>
            <pc:sldMk cId="828096674" sldId="289"/>
            <ac:spMk id="2" creationId="{8708D29F-E08F-4BF0-A40C-086979ABEA29}"/>
          </ac:spMkLst>
        </pc:spChg>
        <pc:spChg chg="add del mod ord">
          <ac:chgData name="Axelsson Jenny" userId="35153831-a041-4e19-963c-026d50be729b" providerId="ADAL" clId="{92A2C269-4D73-4F79-8AAD-4B3B6DD790D7}" dt="2022-05-13T14:08:53.069" v="356" actId="478"/>
          <ac:spMkLst>
            <pc:docMk/>
            <pc:sldMk cId="828096674" sldId="289"/>
            <ac:spMk id="3" creationId="{2B3621B6-843F-47B6-9144-F95AC87C0B9C}"/>
          </ac:spMkLst>
        </pc:spChg>
        <pc:spChg chg="mod">
          <ac:chgData name="Axelsson Jenny" userId="35153831-a041-4e19-963c-026d50be729b" providerId="ADAL" clId="{92A2C269-4D73-4F79-8AAD-4B3B6DD790D7}" dt="2022-05-17T07:41:53.085" v="2544" actId="20577"/>
          <ac:spMkLst>
            <pc:docMk/>
            <pc:sldMk cId="828096674" sldId="289"/>
            <ac:spMk id="9" creationId="{CC972590-87A4-2344-AF0F-45E6D96CE89A}"/>
          </ac:spMkLst>
        </pc:spChg>
        <pc:spChg chg="mod ord">
          <ac:chgData name="Axelsson Jenny" userId="35153831-a041-4e19-963c-026d50be729b" providerId="ADAL" clId="{92A2C269-4D73-4F79-8AAD-4B3B6DD790D7}" dt="2022-05-13T15:18:24.521" v="1470" actId="1076"/>
          <ac:spMkLst>
            <pc:docMk/>
            <pc:sldMk cId="828096674" sldId="289"/>
            <ac:spMk id="241" creationId="{00000000-0000-0000-0000-000000000000}"/>
          </ac:spMkLst>
        </pc:spChg>
        <pc:spChg chg="del mod ord">
          <ac:chgData name="Axelsson Jenny" userId="35153831-a041-4e19-963c-026d50be729b" providerId="ADAL" clId="{92A2C269-4D73-4F79-8AAD-4B3B6DD790D7}" dt="2022-05-13T14:08:50.538" v="355" actId="700"/>
          <ac:spMkLst>
            <pc:docMk/>
            <pc:sldMk cId="828096674" sldId="289"/>
            <ac:spMk id="242" creationId="{00000000-0000-0000-0000-000000000000}"/>
          </ac:spMkLst>
        </pc:spChg>
        <pc:picChg chg="add mod modCrop">
          <ac:chgData name="Axelsson Jenny" userId="35153831-a041-4e19-963c-026d50be729b" providerId="ADAL" clId="{92A2C269-4D73-4F79-8AAD-4B3B6DD790D7}" dt="2022-05-13T15:16:51.162" v="1396" actId="14100"/>
          <ac:picMkLst>
            <pc:docMk/>
            <pc:sldMk cId="828096674" sldId="289"/>
            <ac:picMk id="5" creationId="{A55A091C-29FE-4FD4-B567-6884F7515A1D}"/>
          </ac:picMkLst>
        </pc:picChg>
        <pc:picChg chg="del mod">
          <ac:chgData name="Axelsson Jenny" userId="35153831-a041-4e19-963c-026d50be729b" providerId="ADAL" clId="{92A2C269-4D73-4F79-8AAD-4B3B6DD790D7}" dt="2022-05-13T14:10:50.530" v="367" actId="478"/>
          <ac:picMkLst>
            <pc:docMk/>
            <pc:sldMk cId="828096674" sldId="289"/>
            <ac:picMk id="12290" creationId="{3FCC0AEA-9DDB-B547-86D2-71727A6E1EA7}"/>
          </ac:picMkLst>
        </pc:picChg>
      </pc:sldChg>
      <pc:sldChg chg="addSp delSp modSp add del mod modClrScheme chgLayout">
        <pc:chgData name="Axelsson Jenny" userId="35153831-a041-4e19-963c-026d50be729b" providerId="ADAL" clId="{92A2C269-4D73-4F79-8AAD-4B3B6DD790D7}" dt="2022-05-16T09:47:13.728" v="2027" actId="47"/>
        <pc:sldMkLst>
          <pc:docMk/>
          <pc:sldMk cId="4280924567" sldId="290"/>
        </pc:sldMkLst>
        <pc:spChg chg="del mod">
          <ac:chgData name="Axelsson Jenny" userId="35153831-a041-4e19-963c-026d50be729b" providerId="ADAL" clId="{92A2C269-4D73-4F79-8AAD-4B3B6DD790D7}" dt="2022-05-13T14:01:22.694" v="165"/>
          <ac:spMkLst>
            <pc:docMk/>
            <pc:sldMk cId="4280924567" sldId="290"/>
            <ac:spMk id="3" creationId="{2696F7AE-D81B-BF48-ABF0-7D7AEB5C04A5}"/>
          </ac:spMkLst>
        </pc:spChg>
        <pc:spChg chg="add del mod ord">
          <ac:chgData name="Axelsson Jenny" userId="35153831-a041-4e19-963c-026d50be729b" providerId="ADAL" clId="{92A2C269-4D73-4F79-8AAD-4B3B6DD790D7}" dt="2022-05-13T14:00:33.388" v="154" actId="478"/>
          <ac:spMkLst>
            <pc:docMk/>
            <pc:sldMk cId="4280924567" sldId="290"/>
            <ac:spMk id="8" creationId="{DF5152A4-0BE3-428D-8095-05CDCCD08E14}"/>
          </ac:spMkLst>
        </pc:spChg>
        <pc:spChg chg="add del mod ord">
          <ac:chgData name="Axelsson Jenny" userId="35153831-a041-4e19-963c-026d50be729b" providerId="ADAL" clId="{92A2C269-4D73-4F79-8AAD-4B3B6DD790D7}" dt="2022-05-13T14:00:31.007" v="153" actId="478"/>
          <ac:spMkLst>
            <pc:docMk/>
            <pc:sldMk cId="4280924567" sldId="290"/>
            <ac:spMk id="9" creationId="{8B6142AF-8442-40E3-B3B2-6BFC3BBA58DE}"/>
          </ac:spMkLst>
        </pc:spChg>
        <pc:spChg chg="add del mod">
          <ac:chgData name="Axelsson Jenny" userId="35153831-a041-4e19-963c-026d50be729b" providerId="ADAL" clId="{92A2C269-4D73-4F79-8AAD-4B3B6DD790D7}" dt="2022-05-13T14:01:16.117" v="160" actId="478"/>
          <ac:spMkLst>
            <pc:docMk/>
            <pc:sldMk cId="4280924567" sldId="290"/>
            <ac:spMk id="16" creationId="{ED5EC1B5-5A09-45AA-89FF-C3BB9E8124CA}"/>
          </ac:spMkLst>
        </pc:spChg>
        <pc:spChg chg="add mod">
          <ac:chgData name="Axelsson Jenny" userId="35153831-a041-4e19-963c-026d50be729b" providerId="ADAL" clId="{92A2C269-4D73-4F79-8AAD-4B3B6DD790D7}" dt="2022-05-13T14:07:06.794" v="303" actId="6549"/>
          <ac:spMkLst>
            <pc:docMk/>
            <pc:sldMk cId="4280924567" sldId="290"/>
            <ac:spMk id="17" creationId="{8CF43F3C-BE1D-40DE-AD89-19D9290D43D0}"/>
          </ac:spMkLst>
        </pc:spChg>
        <pc:spChg chg="add mod">
          <ac:chgData name="Axelsson Jenny" userId="35153831-a041-4e19-963c-026d50be729b" providerId="ADAL" clId="{92A2C269-4D73-4F79-8AAD-4B3B6DD790D7}" dt="2022-05-13T14:01:43.502" v="171" actId="1076"/>
          <ac:spMkLst>
            <pc:docMk/>
            <pc:sldMk cId="4280924567" sldId="290"/>
            <ac:spMk id="18" creationId="{4F51095F-ED1F-4FEA-9D37-07C39420E5CD}"/>
          </ac:spMkLst>
        </pc:spChg>
        <pc:spChg chg="mod ord">
          <ac:chgData name="Axelsson Jenny" userId="35153831-a041-4e19-963c-026d50be729b" providerId="ADAL" clId="{92A2C269-4D73-4F79-8AAD-4B3B6DD790D7}" dt="2022-05-13T14:00:26.757" v="152" actId="700"/>
          <ac:spMkLst>
            <pc:docMk/>
            <pc:sldMk cId="4280924567" sldId="290"/>
            <ac:spMk id="241" creationId="{00000000-0000-0000-0000-000000000000}"/>
          </ac:spMkLst>
        </pc:spChg>
        <pc:spChg chg="del mod ord">
          <ac:chgData name="Axelsson Jenny" userId="35153831-a041-4e19-963c-026d50be729b" providerId="ADAL" clId="{92A2C269-4D73-4F79-8AAD-4B3B6DD790D7}" dt="2022-05-13T14:00:26.757" v="152" actId="700"/>
          <ac:spMkLst>
            <pc:docMk/>
            <pc:sldMk cId="4280924567" sldId="290"/>
            <ac:spMk id="242" creationId="{00000000-0000-0000-0000-000000000000}"/>
          </ac:spMkLst>
        </pc:spChg>
      </pc:sldChg>
      <pc:sldChg chg="modSp mod">
        <pc:chgData name="Axelsson Jenny" userId="35153831-a041-4e19-963c-026d50be729b" providerId="ADAL" clId="{92A2C269-4D73-4F79-8AAD-4B3B6DD790D7}" dt="2022-05-13T13:29:12.306" v="107" actId="20577"/>
        <pc:sldMkLst>
          <pc:docMk/>
          <pc:sldMk cId="2974578957" sldId="312"/>
        </pc:sldMkLst>
        <pc:spChg chg="mod">
          <ac:chgData name="Axelsson Jenny" userId="35153831-a041-4e19-963c-026d50be729b" providerId="ADAL" clId="{92A2C269-4D73-4F79-8AAD-4B3B6DD790D7}" dt="2022-05-13T13:29:12.306" v="107" actId="20577"/>
          <ac:spMkLst>
            <pc:docMk/>
            <pc:sldMk cId="2974578957" sldId="312"/>
            <ac:spMk id="4" creationId="{7C3A8192-81A1-4B54-8CE2-055E1C43C19C}"/>
          </ac:spMkLst>
        </pc:spChg>
      </pc:sldChg>
      <pc:sldChg chg="modSp mod">
        <pc:chgData name="Axelsson Jenny" userId="35153831-a041-4e19-963c-026d50be729b" providerId="ADAL" clId="{92A2C269-4D73-4F79-8AAD-4B3B6DD790D7}" dt="2022-05-19T09:25:25.383" v="2803" actId="20577"/>
        <pc:sldMkLst>
          <pc:docMk/>
          <pc:sldMk cId="3738514320" sldId="327"/>
        </pc:sldMkLst>
        <pc:spChg chg="mod">
          <ac:chgData name="Axelsson Jenny" userId="35153831-a041-4e19-963c-026d50be729b" providerId="ADAL" clId="{92A2C269-4D73-4F79-8AAD-4B3B6DD790D7}" dt="2022-05-19T09:25:25.383" v="2803" actId="20577"/>
          <ac:spMkLst>
            <pc:docMk/>
            <pc:sldMk cId="3738514320" sldId="327"/>
            <ac:spMk id="5" creationId="{BC5C837C-7D53-4E50-BDC1-752E6FCF03A0}"/>
          </ac:spMkLst>
        </pc:spChg>
      </pc:sldChg>
      <pc:sldChg chg="modSp mod">
        <pc:chgData name="Axelsson Jenny" userId="35153831-a041-4e19-963c-026d50be729b" providerId="ADAL" clId="{92A2C269-4D73-4F79-8AAD-4B3B6DD790D7}" dt="2022-05-19T14:51:06.403" v="2805" actId="6549"/>
        <pc:sldMkLst>
          <pc:docMk/>
          <pc:sldMk cId="4158201782" sldId="328"/>
        </pc:sldMkLst>
        <pc:spChg chg="mod">
          <ac:chgData name="Axelsson Jenny" userId="35153831-a041-4e19-963c-026d50be729b" providerId="ADAL" clId="{92A2C269-4D73-4F79-8AAD-4B3B6DD790D7}" dt="2022-05-19T14:51:06.403" v="2805" actId="6549"/>
          <ac:spMkLst>
            <pc:docMk/>
            <pc:sldMk cId="4158201782" sldId="328"/>
            <ac:spMk id="5" creationId="{BC5C837C-7D53-4E50-BDC1-752E6FCF03A0}"/>
          </ac:spMkLst>
        </pc:spChg>
      </pc:sldChg>
      <pc:sldChg chg="del">
        <pc:chgData name="Axelsson Jenny" userId="35153831-a041-4e19-963c-026d50be729b" providerId="ADAL" clId="{92A2C269-4D73-4F79-8AAD-4B3B6DD790D7}" dt="2022-05-17T07:34:55.617" v="2439" actId="47"/>
        <pc:sldMkLst>
          <pc:docMk/>
          <pc:sldMk cId="3889687031" sldId="329"/>
        </pc:sldMkLst>
      </pc:sldChg>
      <pc:sldChg chg="del">
        <pc:chgData name="Axelsson Jenny" userId="35153831-a041-4e19-963c-026d50be729b" providerId="ADAL" clId="{92A2C269-4D73-4F79-8AAD-4B3B6DD790D7}" dt="2022-05-13T13:28:56.410" v="103" actId="47"/>
        <pc:sldMkLst>
          <pc:docMk/>
          <pc:sldMk cId="2020359440" sldId="330"/>
        </pc:sldMkLst>
      </pc:sldChg>
      <pc:sldChg chg="del">
        <pc:chgData name="Axelsson Jenny" userId="35153831-a041-4e19-963c-026d50be729b" providerId="ADAL" clId="{92A2C269-4D73-4F79-8AAD-4B3B6DD790D7}" dt="2022-05-17T07:35:12.407" v="2445" actId="47"/>
        <pc:sldMkLst>
          <pc:docMk/>
          <pc:sldMk cId="3981310401" sldId="331"/>
        </pc:sldMkLst>
      </pc:sldChg>
      <pc:sldChg chg="modSp mod">
        <pc:chgData name="Axelsson Jenny" userId="35153831-a041-4e19-963c-026d50be729b" providerId="ADAL" clId="{92A2C269-4D73-4F79-8AAD-4B3B6DD790D7}" dt="2022-05-19T14:51:50.365" v="2825"/>
        <pc:sldMkLst>
          <pc:docMk/>
          <pc:sldMk cId="4230818810" sldId="332"/>
        </pc:sldMkLst>
        <pc:spChg chg="mod">
          <ac:chgData name="Axelsson Jenny" userId="35153831-a041-4e19-963c-026d50be729b" providerId="ADAL" clId="{92A2C269-4D73-4F79-8AAD-4B3B6DD790D7}" dt="2022-05-19T14:51:50.365" v="2825"/>
          <ac:spMkLst>
            <pc:docMk/>
            <pc:sldMk cId="4230818810" sldId="332"/>
            <ac:spMk id="3" creationId="{8F0BB36F-BDC0-4C02-A2FD-EB8CEA53D633}"/>
          </ac:spMkLst>
        </pc:spChg>
      </pc:sldChg>
      <pc:sldChg chg="del">
        <pc:chgData name="Axelsson Jenny" userId="35153831-a041-4e19-963c-026d50be729b" providerId="ADAL" clId="{92A2C269-4D73-4F79-8AAD-4B3B6DD790D7}" dt="2022-05-13T13:26:03.652" v="1" actId="47"/>
        <pc:sldMkLst>
          <pc:docMk/>
          <pc:sldMk cId="764891389" sldId="333"/>
        </pc:sldMkLst>
      </pc:sldChg>
      <pc:sldChg chg="del">
        <pc:chgData name="Axelsson Jenny" userId="35153831-a041-4e19-963c-026d50be729b" providerId="ADAL" clId="{92A2C269-4D73-4F79-8AAD-4B3B6DD790D7}" dt="2022-05-13T13:26:04.233" v="2" actId="47"/>
        <pc:sldMkLst>
          <pc:docMk/>
          <pc:sldMk cId="4103686309" sldId="334"/>
        </pc:sldMkLst>
      </pc:sldChg>
      <pc:sldChg chg="del">
        <pc:chgData name="Axelsson Jenny" userId="35153831-a041-4e19-963c-026d50be729b" providerId="ADAL" clId="{92A2C269-4D73-4F79-8AAD-4B3B6DD790D7}" dt="2022-05-13T13:26:04.783" v="3" actId="47"/>
        <pc:sldMkLst>
          <pc:docMk/>
          <pc:sldMk cId="820098474" sldId="335"/>
        </pc:sldMkLst>
      </pc:sldChg>
      <pc:sldChg chg="del">
        <pc:chgData name="Axelsson Jenny" userId="35153831-a041-4e19-963c-026d50be729b" providerId="ADAL" clId="{92A2C269-4D73-4F79-8AAD-4B3B6DD790D7}" dt="2022-05-13T13:26:05.220" v="4" actId="47"/>
        <pc:sldMkLst>
          <pc:docMk/>
          <pc:sldMk cId="889137311" sldId="336"/>
        </pc:sldMkLst>
      </pc:sldChg>
      <pc:sldChg chg="del">
        <pc:chgData name="Axelsson Jenny" userId="35153831-a041-4e19-963c-026d50be729b" providerId="ADAL" clId="{92A2C269-4D73-4F79-8AAD-4B3B6DD790D7}" dt="2022-05-13T13:26:05.699" v="5" actId="47"/>
        <pc:sldMkLst>
          <pc:docMk/>
          <pc:sldMk cId="2354291851" sldId="337"/>
        </pc:sldMkLst>
      </pc:sldChg>
      <pc:sldChg chg="del">
        <pc:chgData name="Axelsson Jenny" userId="35153831-a041-4e19-963c-026d50be729b" providerId="ADAL" clId="{92A2C269-4D73-4F79-8AAD-4B3B6DD790D7}" dt="2022-05-13T13:26:06.168" v="6" actId="47"/>
        <pc:sldMkLst>
          <pc:docMk/>
          <pc:sldMk cId="1662282722" sldId="338"/>
        </pc:sldMkLst>
      </pc:sldChg>
      <pc:sldChg chg="del">
        <pc:chgData name="Axelsson Jenny" userId="35153831-a041-4e19-963c-026d50be729b" providerId="ADAL" clId="{92A2C269-4D73-4F79-8AAD-4B3B6DD790D7}" dt="2022-05-13T13:26:06.677" v="7" actId="47"/>
        <pc:sldMkLst>
          <pc:docMk/>
          <pc:sldMk cId="1645728080" sldId="339"/>
        </pc:sldMkLst>
      </pc:sldChg>
      <pc:sldChg chg="del">
        <pc:chgData name="Axelsson Jenny" userId="35153831-a041-4e19-963c-026d50be729b" providerId="ADAL" clId="{92A2C269-4D73-4F79-8AAD-4B3B6DD790D7}" dt="2022-05-13T13:26:07.271" v="8" actId="47"/>
        <pc:sldMkLst>
          <pc:docMk/>
          <pc:sldMk cId="1573803966" sldId="340"/>
        </pc:sldMkLst>
      </pc:sldChg>
      <pc:sldChg chg="add">
        <pc:chgData name="Axelsson Jenny" userId="35153831-a041-4e19-963c-026d50be729b" providerId="ADAL" clId="{92A2C269-4D73-4F79-8AAD-4B3B6DD790D7}" dt="2022-05-13T13:25:58.840" v="0"/>
        <pc:sldMkLst>
          <pc:docMk/>
          <pc:sldMk cId="2174837697" sldId="376"/>
        </pc:sldMkLst>
      </pc:sldChg>
      <pc:sldChg chg="add">
        <pc:chgData name="Axelsson Jenny" userId="35153831-a041-4e19-963c-026d50be729b" providerId="ADAL" clId="{92A2C269-4D73-4F79-8AAD-4B3B6DD790D7}" dt="2022-05-13T13:25:58.840" v="0"/>
        <pc:sldMkLst>
          <pc:docMk/>
          <pc:sldMk cId="2997261010" sldId="377"/>
        </pc:sldMkLst>
      </pc:sldChg>
      <pc:sldChg chg="add">
        <pc:chgData name="Axelsson Jenny" userId="35153831-a041-4e19-963c-026d50be729b" providerId="ADAL" clId="{92A2C269-4D73-4F79-8AAD-4B3B6DD790D7}" dt="2022-05-13T13:25:58.840" v="0"/>
        <pc:sldMkLst>
          <pc:docMk/>
          <pc:sldMk cId="3386154666" sldId="378"/>
        </pc:sldMkLst>
      </pc:sldChg>
      <pc:sldChg chg="add">
        <pc:chgData name="Axelsson Jenny" userId="35153831-a041-4e19-963c-026d50be729b" providerId="ADAL" clId="{92A2C269-4D73-4F79-8AAD-4B3B6DD790D7}" dt="2022-05-13T13:25:58.840" v="0"/>
        <pc:sldMkLst>
          <pc:docMk/>
          <pc:sldMk cId="745908580" sldId="379"/>
        </pc:sldMkLst>
      </pc:sldChg>
      <pc:sldChg chg="modSp add mod">
        <pc:chgData name="Axelsson Jenny" userId="35153831-a041-4e19-963c-026d50be729b" providerId="ADAL" clId="{92A2C269-4D73-4F79-8AAD-4B3B6DD790D7}" dt="2022-05-16T14:12:25.553" v="2404" actId="6549"/>
        <pc:sldMkLst>
          <pc:docMk/>
          <pc:sldMk cId="4186501644" sldId="381"/>
        </pc:sldMkLst>
        <pc:spChg chg="mod">
          <ac:chgData name="Axelsson Jenny" userId="35153831-a041-4e19-963c-026d50be729b" providerId="ADAL" clId="{92A2C269-4D73-4F79-8AAD-4B3B6DD790D7}" dt="2022-05-16T14:12:25.553" v="2404" actId="6549"/>
          <ac:spMkLst>
            <pc:docMk/>
            <pc:sldMk cId="4186501644" sldId="381"/>
            <ac:spMk id="21" creationId="{8453AA3C-E61A-BAB7-D3A6-83BBFCF7B233}"/>
          </ac:spMkLst>
        </pc:spChg>
      </pc:sldChg>
      <pc:sldChg chg="add del">
        <pc:chgData name="Axelsson Jenny" userId="35153831-a041-4e19-963c-026d50be729b" providerId="ADAL" clId="{92A2C269-4D73-4F79-8AAD-4B3B6DD790D7}" dt="2022-05-16T11:49:16.150" v="2044" actId="47"/>
        <pc:sldMkLst>
          <pc:docMk/>
          <pc:sldMk cId="2785990710" sldId="382"/>
        </pc:sldMkLst>
      </pc:sldChg>
      <pc:sldChg chg="add">
        <pc:chgData name="Axelsson Jenny" userId="35153831-a041-4e19-963c-026d50be729b" providerId="ADAL" clId="{92A2C269-4D73-4F79-8AAD-4B3B6DD790D7}" dt="2022-05-13T13:25:58.840" v="0"/>
        <pc:sldMkLst>
          <pc:docMk/>
          <pc:sldMk cId="3667638459" sldId="383"/>
        </pc:sldMkLst>
      </pc:sldChg>
      <pc:sldChg chg="modSp add mod">
        <pc:chgData name="Axelsson Jenny" userId="35153831-a041-4e19-963c-026d50be729b" providerId="ADAL" clId="{92A2C269-4D73-4F79-8AAD-4B3B6DD790D7}" dt="2022-05-16T12:07:52.290" v="2081" actId="20577"/>
        <pc:sldMkLst>
          <pc:docMk/>
          <pc:sldMk cId="4237240490" sldId="385"/>
        </pc:sldMkLst>
        <pc:spChg chg="mod">
          <ac:chgData name="Axelsson Jenny" userId="35153831-a041-4e19-963c-026d50be729b" providerId="ADAL" clId="{92A2C269-4D73-4F79-8AAD-4B3B6DD790D7}" dt="2022-05-16T12:07:52.290" v="2081" actId="20577"/>
          <ac:spMkLst>
            <pc:docMk/>
            <pc:sldMk cId="4237240490" sldId="385"/>
            <ac:spMk id="3" creationId="{3D3F8FDD-22A7-465B-BABC-5ABFD28DC497}"/>
          </ac:spMkLst>
        </pc:spChg>
      </pc:sldChg>
      <pc:sldChg chg="modSp add del mod">
        <pc:chgData name="Axelsson Jenny" userId="35153831-a041-4e19-963c-026d50be729b" providerId="ADAL" clId="{92A2C269-4D73-4F79-8AAD-4B3B6DD790D7}" dt="2022-05-16T12:57:14.918" v="2317" actId="20577"/>
        <pc:sldMkLst>
          <pc:docMk/>
          <pc:sldMk cId="4229630721" sldId="386"/>
        </pc:sldMkLst>
        <pc:spChg chg="mod">
          <ac:chgData name="Axelsson Jenny" userId="35153831-a041-4e19-963c-026d50be729b" providerId="ADAL" clId="{92A2C269-4D73-4F79-8AAD-4B3B6DD790D7}" dt="2022-05-16T12:57:14.918" v="2317" actId="20577"/>
          <ac:spMkLst>
            <pc:docMk/>
            <pc:sldMk cId="4229630721" sldId="386"/>
            <ac:spMk id="3" creationId="{926CB30C-2C96-4A47-BD4D-836F7F459373}"/>
          </ac:spMkLst>
        </pc:spChg>
      </pc:sldChg>
      <pc:sldChg chg="add">
        <pc:chgData name="Axelsson Jenny" userId="35153831-a041-4e19-963c-026d50be729b" providerId="ADAL" clId="{92A2C269-4D73-4F79-8AAD-4B3B6DD790D7}" dt="2022-05-13T13:25:58.840" v="0"/>
        <pc:sldMkLst>
          <pc:docMk/>
          <pc:sldMk cId="4220832655" sldId="387"/>
        </pc:sldMkLst>
      </pc:sldChg>
      <pc:sldChg chg="add del">
        <pc:chgData name="Axelsson Jenny" userId="35153831-a041-4e19-963c-026d50be729b" providerId="ADAL" clId="{92A2C269-4D73-4F79-8AAD-4B3B6DD790D7}" dt="2022-05-16T11:59:15.497" v="2069" actId="47"/>
        <pc:sldMkLst>
          <pc:docMk/>
          <pc:sldMk cId="2433675189" sldId="388"/>
        </pc:sldMkLst>
      </pc:sldChg>
      <pc:sldChg chg="add">
        <pc:chgData name="Axelsson Jenny" userId="35153831-a041-4e19-963c-026d50be729b" providerId="ADAL" clId="{92A2C269-4D73-4F79-8AAD-4B3B6DD790D7}" dt="2022-05-13T13:25:58.840" v="0"/>
        <pc:sldMkLst>
          <pc:docMk/>
          <pc:sldMk cId="4224920505" sldId="389"/>
        </pc:sldMkLst>
      </pc:sldChg>
      <pc:sldChg chg="add">
        <pc:chgData name="Axelsson Jenny" userId="35153831-a041-4e19-963c-026d50be729b" providerId="ADAL" clId="{92A2C269-4D73-4F79-8AAD-4B3B6DD790D7}" dt="2022-05-13T13:25:58.840" v="0"/>
        <pc:sldMkLst>
          <pc:docMk/>
          <pc:sldMk cId="255931413" sldId="390"/>
        </pc:sldMkLst>
      </pc:sldChg>
      <pc:sldChg chg="addSp delSp modSp add mod">
        <pc:chgData name="Axelsson Jenny" userId="35153831-a041-4e19-963c-026d50be729b" providerId="ADAL" clId="{92A2C269-4D73-4F79-8AAD-4B3B6DD790D7}" dt="2022-05-16T12:05:21.065" v="2072" actId="1076"/>
        <pc:sldMkLst>
          <pc:docMk/>
          <pc:sldMk cId="2160925062" sldId="391"/>
        </pc:sldMkLst>
        <pc:spChg chg="mod">
          <ac:chgData name="Axelsson Jenny" userId="35153831-a041-4e19-963c-026d50be729b" providerId="ADAL" clId="{92A2C269-4D73-4F79-8AAD-4B3B6DD790D7}" dt="2022-05-16T12:05:13.994" v="2071" actId="1076"/>
          <ac:spMkLst>
            <pc:docMk/>
            <pc:sldMk cId="2160925062" sldId="391"/>
            <ac:spMk id="9" creationId="{BC7052F9-73EB-445A-86CB-79B85AE354F1}"/>
          </ac:spMkLst>
        </pc:spChg>
        <pc:spChg chg="mod">
          <ac:chgData name="Axelsson Jenny" userId="35153831-a041-4e19-963c-026d50be729b" providerId="ADAL" clId="{92A2C269-4D73-4F79-8AAD-4B3B6DD790D7}" dt="2022-05-16T12:05:21.065" v="2072" actId="1076"/>
          <ac:spMkLst>
            <pc:docMk/>
            <pc:sldMk cId="2160925062" sldId="391"/>
            <ac:spMk id="11" creationId="{D107BF9C-3075-4A13-B170-A378E6CB60C9}"/>
          </ac:spMkLst>
        </pc:spChg>
        <pc:graphicFrameChg chg="del">
          <ac:chgData name="Axelsson Jenny" userId="35153831-a041-4e19-963c-026d50be729b" providerId="ADAL" clId="{92A2C269-4D73-4F79-8AAD-4B3B6DD790D7}" dt="2022-05-16T09:33:22.708" v="1962" actId="478"/>
          <ac:graphicFrameMkLst>
            <pc:docMk/>
            <pc:sldMk cId="2160925062" sldId="391"/>
            <ac:graphicFrameMk id="10" creationId="{3D7ADCCF-2427-4894-9195-1324087CE6C1}"/>
          </ac:graphicFrameMkLst>
        </pc:graphicFrameChg>
        <pc:graphicFrameChg chg="add mod">
          <ac:chgData name="Axelsson Jenny" userId="35153831-a041-4e19-963c-026d50be729b" providerId="ADAL" clId="{92A2C269-4D73-4F79-8AAD-4B3B6DD790D7}" dt="2022-05-16T09:33:27.225" v="1964" actId="1076"/>
          <ac:graphicFrameMkLst>
            <pc:docMk/>
            <pc:sldMk cId="2160925062" sldId="391"/>
            <ac:graphicFrameMk id="13" creationId="{8FAB34B6-1532-41EB-9577-2A4F915CD513}"/>
          </ac:graphicFrameMkLst>
        </pc:graphicFrameChg>
        <pc:picChg chg="mod">
          <ac:chgData name="Axelsson Jenny" userId="35153831-a041-4e19-963c-026d50be729b" providerId="ADAL" clId="{92A2C269-4D73-4F79-8AAD-4B3B6DD790D7}" dt="2022-05-16T12:05:11.761" v="2070" actId="1076"/>
          <ac:picMkLst>
            <pc:docMk/>
            <pc:sldMk cId="2160925062" sldId="391"/>
            <ac:picMk id="8" creationId="{8895148B-EF8A-4A64-B8A5-8A650C43F0E9}"/>
          </ac:picMkLst>
        </pc:picChg>
      </pc:sldChg>
      <pc:sldChg chg="add">
        <pc:chgData name="Axelsson Jenny" userId="35153831-a041-4e19-963c-026d50be729b" providerId="ADAL" clId="{92A2C269-4D73-4F79-8AAD-4B3B6DD790D7}" dt="2022-05-13T13:25:58.840" v="0"/>
        <pc:sldMkLst>
          <pc:docMk/>
          <pc:sldMk cId="271110082" sldId="392"/>
        </pc:sldMkLst>
      </pc:sldChg>
      <pc:sldChg chg="add">
        <pc:chgData name="Axelsson Jenny" userId="35153831-a041-4e19-963c-026d50be729b" providerId="ADAL" clId="{92A2C269-4D73-4F79-8AAD-4B3B6DD790D7}" dt="2022-05-13T13:25:58.840" v="0"/>
        <pc:sldMkLst>
          <pc:docMk/>
          <pc:sldMk cId="1708728564" sldId="393"/>
        </pc:sldMkLst>
      </pc:sldChg>
      <pc:sldChg chg="addSp modSp add mod">
        <pc:chgData name="Axelsson Jenny" userId="35153831-a041-4e19-963c-026d50be729b" providerId="ADAL" clId="{92A2C269-4D73-4F79-8AAD-4B3B6DD790D7}" dt="2022-05-17T07:17:37.922" v="2408"/>
        <pc:sldMkLst>
          <pc:docMk/>
          <pc:sldMk cId="3531919037" sldId="394"/>
        </pc:sldMkLst>
        <pc:spChg chg="mod">
          <ac:chgData name="Axelsson Jenny" userId="35153831-a041-4e19-963c-026d50be729b" providerId="ADAL" clId="{92A2C269-4D73-4F79-8AAD-4B3B6DD790D7}" dt="2022-05-16T12:09:17.650" v="2085" actId="20577"/>
          <ac:spMkLst>
            <pc:docMk/>
            <pc:sldMk cId="3531919037" sldId="394"/>
            <ac:spMk id="3" creationId="{2316F00E-E72C-4DE6-8D97-09CF59E27953}"/>
          </ac:spMkLst>
        </pc:spChg>
        <pc:spChg chg="add mod">
          <ac:chgData name="Axelsson Jenny" userId="35153831-a041-4e19-963c-026d50be729b" providerId="ADAL" clId="{92A2C269-4D73-4F79-8AAD-4B3B6DD790D7}" dt="2022-05-17T07:17:37.922" v="2408"/>
          <ac:spMkLst>
            <pc:docMk/>
            <pc:sldMk cId="3531919037" sldId="394"/>
            <ac:spMk id="9" creationId="{2A490390-3A95-44C0-9309-DE2C3322B4A3}"/>
          </ac:spMkLst>
        </pc:spChg>
        <pc:picChg chg="add mod">
          <ac:chgData name="Axelsson Jenny" userId="35153831-a041-4e19-963c-026d50be729b" providerId="ADAL" clId="{92A2C269-4D73-4F79-8AAD-4B3B6DD790D7}" dt="2022-05-17T07:17:26.825" v="2407" actId="1076"/>
          <ac:picMkLst>
            <pc:docMk/>
            <pc:sldMk cId="3531919037" sldId="394"/>
            <ac:picMk id="7" creationId="{48495B9B-ABC2-4B15-96AC-5E86A46B8762}"/>
          </ac:picMkLst>
        </pc:picChg>
      </pc:sldChg>
      <pc:sldChg chg="modSp add mod">
        <pc:chgData name="Axelsson Jenny" userId="35153831-a041-4e19-963c-026d50be729b" providerId="ADAL" clId="{92A2C269-4D73-4F79-8AAD-4B3B6DD790D7}" dt="2022-05-16T12:09:39.819" v="2090" actId="20577"/>
        <pc:sldMkLst>
          <pc:docMk/>
          <pc:sldMk cId="1339297484" sldId="395"/>
        </pc:sldMkLst>
        <pc:spChg chg="mod">
          <ac:chgData name="Axelsson Jenny" userId="35153831-a041-4e19-963c-026d50be729b" providerId="ADAL" clId="{92A2C269-4D73-4F79-8AAD-4B3B6DD790D7}" dt="2022-05-16T12:09:39.819" v="2090" actId="20577"/>
          <ac:spMkLst>
            <pc:docMk/>
            <pc:sldMk cId="1339297484" sldId="395"/>
            <ac:spMk id="3" creationId="{BC2FD2BD-911D-4319-80A3-FD6ACC6B0910}"/>
          </ac:spMkLst>
        </pc:spChg>
      </pc:sldChg>
      <pc:sldChg chg="modSp add mod">
        <pc:chgData name="Axelsson Jenny" userId="35153831-a041-4e19-963c-026d50be729b" providerId="ADAL" clId="{92A2C269-4D73-4F79-8AAD-4B3B6DD790D7}" dt="2022-05-16T12:10:01.576" v="2103" actId="20577"/>
        <pc:sldMkLst>
          <pc:docMk/>
          <pc:sldMk cId="2648983790" sldId="396"/>
        </pc:sldMkLst>
        <pc:spChg chg="mod">
          <ac:chgData name="Axelsson Jenny" userId="35153831-a041-4e19-963c-026d50be729b" providerId="ADAL" clId="{92A2C269-4D73-4F79-8AAD-4B3B6DD790D7}" dt="2022-05-16T12:09:56.210" v="2099" actId="20577"/>
          <ac:spMkLst>
            <pc:docMk/>
            <pc:sldMk cId="2648983790" sldId="396"/>
            <ac:spMk id="2" creationId="{5368702E-A521-47D5-BD36-1559C8D22EBD}"/>
          </ac:spMkLst>
        </pc:spChg>
        <pc:spChg chg="mod">
          <ac:chgData name="Axelsson Jenny" userId="35153831-a041-4e19-963c-026d50be729b" providerId="ADAL" clId="{92A2C269-4D73-4F79-8AAD-4B3B6DD790D7}" dt="2022-05-16T12:10:01.576" v="2103" actId="20577"/>
          <ac:spMkLst>
            <pc:docMk/>
            <pc:sldMk cId="2648983790" sldId="396"/>
            <ac:spMk id="3" creationId="{839C2219-9919-4376-9237-D29AEAA7C744}"/>
          </ac:spMkLst>
        </pc:spChg>
      </pc:sldChg>
      <pc:sldChg chg="modSp add mod">
        <pc:chgData name="Axelsson Jenny" userId="35153831-a041-4e19-963c-026d50be729b" providerId="ADAL" clId="{92A2C269-4D73-4F79-8AAD-4B3B6DD790D7}" dt="2022-05-16T12:11:12.809" v="2105" actId="14100"/>
        <pc:sldMkLst>
          <pc:docMk/>
          <pc:sldMk cId="3316934737" sldId="397"/>
        </pc:sldMkLst>
        <pc:spChg chg="mod">
          <ac:chgData name="Axelsson Jenny" userId="35153831-a041-4e19-963c-026d50be729b" providerId="ADAL" clId="{92A2C269-4D73-4F79-8AAD-4B3B6DD790D7}" dt="2022-05-16T12:11:03.886" v="2104" actId="6549"/>
          <ac:spMkLst>
            <pc:docMk/>
            <pc:sldMk cId="3316934737" sldId="397"/>
            <ac:spMk id="3" creationId="{DB06FA4C-B699-4001-8219-3038AF679D7D}"/>
          </ac:spMkLst>
        </pc:spChg>
        <pc:picChg chg="mod">
          <ac:chgData name="Axelsson Jenny" userId="35153831-a041-4e19-963c-026d50be729b" providerId="ADAL" clId="{92A2C269-4D73-4F79-8AAD-4B3B6DD790D7}" dt="2022-05-16T12:11:12.809" v="2105" actId="14100"/>
          <ac:picMkLst>
            <pc:docMk/>
            <pc:sldMk cId="3316934737" sldId="397"/>
            <ac:picMk id="12" creationId="{421CFFE8-3DC0-4453-BAE4-0132193D9095}"/>
          </ac:picMkLst>
        </pc:picChg>
      </pc:sldChg>
      <pc:sldChg chg="modSp add del mod">
        <pc:chgData name="Axelsson Jenny" userId="35153831-a041-4e19-963c-026d50be729b" providerId="ADAL" clId="{92A2C269-4D73-4F79-8AAD-4B3B6DD790D7}" dt="2022-05-16T12:18:48.004" v="2164" actId="47"/>
        <pc:sldMkLst>
          <pc:docMk/>
          <pc:sldMk cId="1613386034" sldId="398"/>
        </pc:sldMkLst>
        <pc:spChg chg="mod">
          <ac:chgData name="Axelsson Jenny" userId="35153831-a041-4e19-963c-026d50be729b" providerId="ADAL" clId="{92A2C269-4D73-4F79-8AAD-4B3B6DD790D7}" dt="2022-05-16T12:18:27.689" v="2163" actId="20577"/>
          <ac:spMkLst>
            <pc:docMk/>
            <pc:sldMk cId="1613386034" sldId="398"/>
            <ac:spMk id="3" creationId="{798EB831-F72F-4948-8583-4442D88021A6}"/>
          </ac:spMkLst>
        </pc:spChg>
      </pc:sldChg>
      <pc:sldChg chg="add">
        <pc:chgData name="Axelsson Jenny" userId="35153831-a041-4e19-963c-026d50be729b" providerId="ADAL" clId="{92A2C269-4D73-4F79-8AAD-4B3B6DD790D7}" dt="2022-05-13T13:25:58.840" v="0"/>
        <pc:sldMkLst>
          <pc:docMk/>
          <pc:sldMk cId="1850044946" sldId="399"/>
        </pc:sldMkLst>
      </pc:sldChg>
      <pc:sldChg chg="modSp add mod">
        <pc:chgData name="Axelsson Jenny" userId="35153831-a041-4e19-963c-026d50be729b" providerId="ADAL" clId="{92A2C269-4D73-4F79-8AAD-4B3B6DD790D7}" dt="2022-05-16T13:06:22.483" v="2339" actId="13926"/>
        <pc:sldMkLst>
          <pc:docMk/>
          <pc:sldMk cId="3159891137" sldId="400"/>
        </pc:sldMkLst>
        <pc:spChg chg="mod">
          <ac:chgData name="Axelsson Jenny" userId="35153831-a041-4e19-963c-026d50be729b" providerId="ADAL" clId="{92A2C269-4D73-4F79-8AAD-4B3B6DD790D7}" dt="2022-05-16T13:06:22.483" v="2339" actId="13926"/>
          <ac:spMkLst>
            <pc:docMk/>
            <pc:sldMk cId="3159891137" sldId="400"/>
            <ac:spMk id="3" creationId="{C7D71679-6CAF-4371-9A8E-DFD12AAA4D55}"/>
          </ac:spMkLst>
        </pc:spChg>
      </pc:sldChg>
      <pc:sldChg chg="modSp add mod">
        <pc:chgData name="Axelsson Jenny" userId="35153831-a041-4e19-963c-026d50be729b" providerId="ADAL" clId="{92A2C269-4D73-4F79-8AAD-4B3B6DD790D7}" dt="2022-05-17T08:56:04.313" v="2668" actId="20577"/>
        <pc:sldMkLst>
          <pc:docMk/>
          <pc:sldMk cId="3397904780" sldId="401"/>
        </pc:sldMkLst>
        <pc:spChg chg="mod">
          <ac:chgData name="Axelsson Jenny" userId="35153831-a041-4e19-963c-026d50be729b" providerId="ADAL" clId="{92A2C269-4D73-4F79-8AAD-4B3B6DD790D7}" dt="2022-05-17T08:56:04.313" v="2668" actId="20577"/>
          <ac:spMkLst>
            <pc:docMk/>
            <pc:sldMk cId="3397904780" sldId="401"/>
            <ac:spMk id="3" creationId="{408995A6-FF3D-4C96-826A-BBA617DBBB1F}"/>
          </ac:spMkLst>
        </pc:spChg>
      </pc:sldChg>
      <pc:sldChg chg="add">
        <pc:chgData name="Axelsson Jenny" userId="35153831-a041-4e19-963c-026d50be729b" providerId="ADAL" clId="{92A2C269-4D73-4F79-8AAD-4B3B6DD790D7}" dt="2022-05-13T13:25:58.840" v="0"/>
        <pc:sldMkLst>
          <pc:docMk/>
          <pc:sldMk cId="4028061350" sldId="402"/>
        </pc:sldMkLst>
      </pc:sldChg>
      <pc:sldChg chg="add">
        <pc:chgData name="Axelsson Jenny" userId="35153831-a041-4e19-963c-026d50be729b" providerId="ADAL" clId="{92A2C269-4D73-4F79-8AAD-4B3B6DD790D7}" dt="2022-05-13T13:25:58.840" v="0"/>
        <pc:sldMkLst>
          <pc:docMk/>
          <pc:sldMk cId="546124148" sldId="403"/>
        </pc:sldMkLst>
      </pc:sldChg>
      <pc:sldChg chg="add">
        <pc:chgData name="Axelsson Jenny" userId="35153831-a041-4e19-963c-026d50be729b" providerId="ADAL" clId="{92A2C269-4D73-4F79-8AAD-4B3B6DD790D7}" dt="2022-05-13T13:25:58.840" v="0"/>
        <pc:sldMkLst>
          <pc:docMk/>
          <pc:sldMk cId="50843774" sldId="404"/>
        </pc:sldMkLst>
      </pc:sldChg>
      <pc:sldChg chg="add">
        <pc:chgData name="Axelsson Jenny" userId="35153831-a041-4e19-963c-026d50be729b" providerId="ADAL" clId="{92A2C269-4D73-4F79-8AAD-4B3B6DD790D7}" dt="2022-05-13T13:25:58.840" v="0"/>
        <pc:sldMkLst>
          <pc:docMk/>
          <pc:sldMk cId="2868620485" sldId="405"/>
        </pc:sldMkLst>
      </pc:sldChg>
      <pc:sldChg chg="add">
        <pc:chgData name="Axelsson Jenny" userId="35153831-a041-4e19-963c-026d50be729b" providerId="ADAL" clId="{92A2C269-4D73-4F79-8AAD-4B3B6DD790D7}" dt="2022-05-13T13:25:58.840" v="0"/>
        <pc:sldMkLst>
          <pc:docMk/>
          <pc:sldMk cId="457703260" sldId="406"/>
        </pc:sldMkLst>
      </pc:sldChg>
      <pc:sldChg chg="addSp delSp modSp add mod">
        <pc:chgData name="Axelsson Jenny" userId="35153831-a041-4e19-963c-026d50be729b" providerId="ADAL" clId="{92A2C269-4D73-4F79-8AAD-4B3B6DD790D7}" dt="2022-05-16T12:26:51.459" v="2168" actId="1076"/>
        <pc:sldMkLst>
          <pc:docMk/>
          <pc:sldMk cId="150229519" sldId="407"/>
        </pc:sldMkLst>
        <pc:graphicFrameChg chg="del">
          <ac:chgData name="Axelsson Jenny" userId="35153831-a041-4e19-963c-026d50be729b" providerId="ADAL" clId="{92A2C269-4D73-4F79-8AAD-4B3B6DD790D7}" dt="2022-05-16T09:36:30.541" v="1972" actId="478"/>
          <ac:graphicFrameMkLst>
            <pc:docMk/>
            <pc:sldMk cId="150229519" sldId="407"/>
            <ac:graphicFrameMk id="6" creationId="{8151281B-2923-4272-B141-ECD5CB29CF14}"/>
          </ac:graphicFrameMkLst>
        </pc:graphicFrameChg>
        <pc:graphicFrameChg chg="del">
          <ac:chgData name="Axelsson Jenny" userId="35153831-a041-4e19-963c-026d50be729b" providerId="ADAL" clId="{92A2C269-4D73-4F79-8AAD-4B3B6DD790D7}" dt="2022-05-16T09:37:08.563" v="1975" actId="478"/>
          <ac:graphicFrameMkLst>
            <pc:docMk/>
            <pc:sldMk cId="150229519" sldId="407"/>
            <ac:graphicFrameMk id="7" creationId="{D5B694F9-12A2-433B-BB9D-66A16FC8AF43}"/>
          </ac:graphicFrameMkLst>
        </pc:graphicFrameChg>
        <pc:graphicFrameChg chg="add del mod">
          <ac:chgData name="Axelsson Jenny" userId="35153831-a041-4e19-963c-026d50be729b" providerId="ADAL" clId="{92A2C269-4D73-4F79-8AAD-4B3B6DD790D7}" dt="2022-05-16T12:26:46.040" v="2166" actId="478"/>
          <ac:graphicFrameMkLst>
            <pc:docMk/>
            <pc:sldMk cId="150229519" sldId="407"/>
            <ac:graphicFrameMk id="8" creationId="{3BAD9C67-8225-480E-AAFB-12641B2CFF97}"/>
          </ac:graphicFrameMkLst>
        </pc:graphicFrameChg>
        <pc:graphicFrameChg chg="add del mod">
          <ac:chgData name="Axelsson Jenny" userId="35153831-a041-4e19-963c-026d50be729b" providerId="ADAL" clId="{92A2C269-4D73-4F79-8AAD-4B3B6DD790D7}" dt="2022-05-16T09:42:02.355" v="1978" actId="478"/>
          <ac:graphicFrameMkLst>
            <pc:docMk/>
            <pc:sldMk cId="150229519" sldId="407"/>
            <ac:graphicFrameMk id="9" creationId="{65F5F721-D736-4BB6-8A75-3031878A804E}"/>
          </ac:graphicFrameMkLst>
        </pc:graphicFrameChg>
        <pc:graphicFrameChg chg="add mod">
          <ac:chgData name="Axelsson Jenny" userId="35153831-a041-4e19-963c-026d50be729b" providerId="ADAL" clId="{92A2C269-4D73-4F79-8AAD-4B3B6DD790D7}" dt="2022-05-16T12:26:51.459" v="2168" actId="1076"/>
          <ac:graphicFrameMkLst>
            <pc:docMk/>
            <pc:sldMk cId="150229519" sldId="407"/>
            <ac:graphicFrameMk id="10" creationId="{2F4896E3-6FB0-4824-B084-85A0035A3211}"/>
          </ac:graphicFrameMkLst>
        </pc:graphicFrameChg>
      </pc:sldChg>
      <pc:sldChg chg="addSp delSp modSp add mod">
        <pc:chgData name="Axelsson Jenny" userId="35153831-a041-4e19-963c-026d50be729b" providerId="ADAL" clId="{92A2C269-4D73-4F79-8AAD-4B3B6DD790D7}" dt="2022-05-16T09:34:19.400" v="1967" actId="1076"/>
        <pc:sldMkLst>
          <pc:docMk/>
          <pc:sldMk cId="2611029538" sldId="408"/>
        </pc:sldMkLst>
        <pc:graphicFrameChg chg="add mod">
          <ac:chgData name="Axelsson Jenny" userId="35153831-a041-4e19-963c-026d50be729b" providerId="ADAL" clId="{92A2C269-4D73-4F79-8AAD-4B3B6DD790D7}" dt="2022-05-16T09:34:19.400" v="1967" actId="1076"/>
          <ac:graphicFrameMkLst>
            <pc:docMk/>
            <pc:sldMk cId="2611029538" sldId="408"/>
            <ac:graphicFrameMk id="7" creationId="{E58BDF77-860A-4353-8246-81DC55CF7732}"/>
          </ac:graphicFrameMkLst>
        </pc:graphicFrameChg>
        <pc:graphicFrameChg chg="del">
          <ac:chgData name="Axelsson Jenny" userId="35153831-a041-4e19-963c-026d50be729b" providerId="ADAL" clId="{92A2C269-4D73-4F79-8AAD-4B3B6DD790D7}" dt="2022-05-16T09:34:14.047" v="1965" actId="478"/>
          <ac:graphicFrameMkLst>
            <pc:docMk/>
            <pc:sldMk cId="2611029538" sldId="408"/>
            <ac:graphicFrameMk id="13" creationId="{8520108F-B33B-40FD-BCCC-E9085C33A1E9}"/>
          </ac:graphicFrameMkLst>
        </pc:graphicFrameChg>
      </pc:sldChg>
      <pc:sldChg chg="add">
        <pc:chgData name="Axelsson Jenny" userId="35153831-a041-4e19-963c-026d50be729b" providerId="ADAL" clId="{92A2C269-4D73-4F79-8AAD-4B3B6DD790D7}" dt="2022-05-13T13:25:58.840" v="0"/>
        <pc:sldMkLst>
          <pc:docMk/>
          <pc:sldMk cId="2860269283" sldId="409"/>
        </pc:sldMkLst>
      </pc:sldChg>
      <pc:sldChg chg="add">
        <pc:chgData name="Axelsson Jenny" userId="35153831-a041-4e19-963c-026d50be729b" providerId="ADAL" clId="{92A2C269-4D73-4F79-8AAD-4B3B6DD790D7}" dt="2022-05-13T13:25:58.840" v="0"/>
        <pc:sldMkLst>
          <pc:docMk/>
          <pc:sldMk cId="1897455769" sldId="410"/>
        </pc:sldMkLst>
      </pc:sldChg>
      <pc:sldChg chg="add">
        <pc:chgData name="Axelsson Jenny" userId="35153831-a041-4e19-963c-026d50be729b" providerId="ADAL" clId="{92A2C269-4D73-4F79-8AAD-4B3B6DD790D7}" dt="2022-05-13T13:25:58.840" v="0"/>
        <pc:sldMkLst>
          <pc:docMk/>
          <pc:sldMk cId="992858596" sldId="411"/>
        </pc:sldMkLst>
      </pc:sldChg>
      <pc:sldChg chg="add">
        <pc:chgData name="Axelsson Jenny" userId="35153831-a041-4e19-963c-026d50be729b" providerId="ADAL" clId="{92A2C269-4D73-4F79-8AAD-4B3B6DD790D7}" dt="2022-05-13T13:25:58.840" v="0"/>
        <pc:sldMkLst>
          <pc:docMk/>
          <pc:sldMk cId="3015492829" sldId="412"/>
        </pc:sldMkLst>
      </pc:sldChg>
      <pc:sldChg chg="add">
        <pc:chgData name="Axelsson Jenny" userId="35153831-a041-4e19-963c-026d50be729b" providerId="ADAL" clId="{92A2C269-4D73-4F79-8AAD-4B3B6DD790D7}" dt="2022-05-13T13:25:58.840" v="0"/>
        <pc:sldMkLst>
          <pc:docMk/>
          <pc:sldMk cId="4196600592" sldId="415"/>
        </pc:sldMkLst>
      </pc:sldChg>
      <pc:sldChg chg="addSp delSp modSp add mod">
        <pc:chgData name="Axelsson Jenny" userId="35153831-a041-4e19-963c-026d50be729b" providerId="ADAL" clId="{92A2C269-4D73-4F79-8AAD-4B3B6DD790D7}" dt="2022-05-16T09:36:00.631" v="1971" actId="1076"/>
        <pc:sldMkLst>
          <pc:docMk/>
          <pc:sldMk cId="1794133368" sldId="416"/>
        </pc:sldMkLst>
        <pc:graphicFrameChg chg="del">
          <ac:chgData name="Axelsson Jenny" userId="35153831-a041-4e19-963c-026d50be729b" providerId="ADAL" clId="{92A2C269-4D73-4F79-8AAD-4B3B6DD790D7}" dt="2022-05-16T09:35:52.140" v="1968" actId="478"/>
          <ac:graphicFrameMkLst>
            <pc:docMk/>
            <pc:sldMk cId="1794133368" sldId="416"/>
            <ac:graphicFrameMk id="7" creationId="{DC56DF22-D2E4-4AE6-BD75-949280E75F82}"/>
          </ac:graphicFrameMkLst>
        </pc:graphicFrameChg>
        <pc:graphicFrameChg chg="add mod">
          <ac:chgData name="Axelsson Jenny" userId="35153831-a041-4e19-963c-026d50be729b" providerId="ADAL" clId="{92A2C269-4D73-4F79-8AAD-4B3B6DD790D7}" dt="2022-05-16T09:36:00.631" v="1971" actId="1076"/>
          <ac:graphicFrameMkLst>
            <pc:docMk/>
            <pc:sldMk cId="1794133368" sldId="416"/>
            <ac:graphicFrameMk id="8" creationId="{7805F085-1E31-4690-8FF1-E7C706DEAD27}"/>
          </ac:graphicFrameMkLst>
        </pc:graphicFrameChg>
      </pc:sldChg>
      <pc:sldChg chg="add">
        <pc:chgData name="Axelsson Jenny" userId="35153831-a041-4e19-963c-026d50be729b" providerId="ADAL" clId="{92A2C269-4D73-4F79-8AAD-4B3B6DD790D7}" dt="2022-05-13T13:25:58.840" v="0"/>
        <pc:sldMkLst>
          <pc:docMk/>
          <pc:sldMk cId="2809175124" sldId="417"/>
        </pc:sldMkLst>
      </pc:sldChg>
      <pc:sldChg chg="add">
        <pc:chgData name="Axelsson Jenny" userId="35153831-a041-4e19-963c-026d50be729b" providerId="ADAL" clId="{92A2C269-4D73-4F79-8AAD-4B3B6DD790D7}" dt="2022-05-13T13:25:58.840" v="0"/>
        <pc:sldMkLst>
          <pc:docMk/>
          <pc:sldMk cId="4252580479" sldId="418"/>
        </pc:sldMkLst>
      </pc:sldChg>
      <pc:sldChg chg="add">
        <pc:chgData name="Axelsson Jenny" userId="35153831-a041-4e19-963c-026d50be729b" providerId="ADAL" clId="{92A2C269-4D73-4F79-8AAD-4B3B6DD790D7}" dt="2022-05-13T13:25:58.840" v="0"/>
        <pc:sldMkLst>
          <pc:docMk/>
          <pc:sldMk cId="2395430125" sldId="419"/>
        </pc:sldMkLst>
      </pc:sldChg>
      <pc:sldChg chg="modSp add mod">
        <pc:chgData name="Axelsson Jenny" userId="35153831-a041-4e19-963c-026d50be729b" providerId="ADAL" clId="{92A2C269-4D73-4F79-8AAD-4B3B6DD790D7}" dt="2022-05-17T08:57:37.854" v="2688" actId="6549"/>
        <pc:sldMkLst>
          <pc:docMk/>
          <pc:sldMk cId="4186599665" sldId="420"/>
        </pc:sldMkLst>
        <pc:spChg chg="mod">
          <ac:chgData name="Axelsson Jenny" userId="35153831-a041-4e19-963c-026d50be729b" providerId="ADAL" clId="{92A2C269-4D73-4F79-8AAD-4B3B6DD790D7}" dt="2022-05-17T08:57:37.854" v="2688" actId="6549"/>
          <ac:spMkLst>
            <pc:docMk/>
            <pc:sldMk cId="4186599665" sldId="420"/>
            <ac:spMk id="7" creationId="{306A4ED9-0B53-42E7-847C-831E28AAFCB0}"/>
          </ac:spMkLst>
        </pc:spChg>
      </pc:sldChg>
      <pc:sldChg chg="add">
        <pc:chgData name="Axelsson Jenny" userId="35153831-a041-4e19-963c-026d50be729b" providerId="ADAL" clId="{92A2C269-4D73-4F79-8AAD-4B3B6DD790D7}" dt="2022-05-13T13:25:58.840" v="0"/>
        <pc:sldMkLst>
          <pc:docMk/>
          <pc:sldMk cId="2414173897" sldId="421"/>
        </pc:sldMkLst>
      </pc:sldChg>
      <pc:sldChg chg="add">
        <pc:chgData name="Axelsson Jenny" userId="35153831-a041-4e19-963c-026d50be729b" providerId="ADAL" clId="{92A2C269-4D73-4F79-8AAD-4B3B6DD790D7}" dt="2022-05-13T13:25:58.840" v="0"/>
        <pc:sldMkLst>
          <pc:docMk/>
          <pc:sldMk cId="2665014976" sldId="424"/>
        </pc:sldMkLst>
      </pc:sldChg>
      <pc:sldChg chg="add">
        <pc:chgData name="Axelsson Jenny" userId="35153831-a041-4e19-963c-026d50be729b" providerId="ADAL" clId="{92A2C269-4D73-4F79-8AAD-4B3B6DD790D7}" dt="2022-05-13T13:25:58.840" v="0"/>
        <pc:sldMkLst>
          <pc:docMk/>
          <pc:sldMk cId="1944551986" sldId="425"/>
        </pc:sldMkLst>
      </pc:sldChg>
      <pc:sldChg chg="modSp add mod">
        <pc:chgData name="Axelsson Jenny" userId="35153831-a041-4e19-963c-026d50be729b" providerId="ADAL" clId="{92A2C269-4D73-4F79-8AAD-4B3B6DD790D7}" dt="2022-05-17T07:19:02.319" v="2419" actId="20577"/>
        <pc:sldMkLst>
          <pc:docMk/>
          <pc:sldMk cId="1060880378" sldId="428"/>
        </pc:sldMkLst>
        <pc:spChg chg="mod">
          <ac:chgData name="Axelsson Jenny" userId="35153831-a041-4e19-963c-026d50be729b" providerId="ADAL" clId="{92A2C269-4D73-4F79-8AAD-4B3B6DD790D7}" dt="2022-05-17T07:19:02.319" v="2419" actId="20577"/>
          <ac:spMkLst>
            <pc:docMk/>
            <pc:sldMk cId="1060880378" sldId="428"/>
            <ac:spMk id="3" creationId="{A5C41479-C20C-4B98-998F-28130157B2D9}"/>
          </ac:spMkLst>
        </pc:spChg>
      </pc:sldChg>
      <pc:sldChg chg="addSp modSp add mod">
        <pc:chgData name="Axelsson Jenny" userId="35153831-a041-4e19-963c-026d50be729b" providerId="ADAL" clId="{92A2C269-4D73-4F79-8AAD-4B3B6DD790D7}" dt="2022-05-17T07:21:36.812" v="2425"/>
        <pc:sldMkLst>
          <pc:docMk/>
          <pc:sldMk cId="2190836274" sldId="429"/>
        </pc:sldMkLst>
        <pc:spChg chg="mod">
          <ac:chgData name="Axelsson Jenny" userId="35153831-a041-4e19-963c-026d50be729b" providerId="ADAL" clId="{92A2C269-4D73-4F79-8AAD-4B3B6DD790D7}" dt="2022-05-16T12:39:03.168" v="2178" actId="20577"/>
          <ac:spMkLst>
            <pc:docMk/>
            <pc:sldMk cId="2190836274" sldId="429"/>
            <ac:spMk id="3" creationId="{4BBB98F1-6E9B-415C-921C-4210E643CF31}"/>
          </ac:spMkLst>
        </pc:spChg>
        <pc:spChg chg="add mod">
          <ac:chgData name="Axelsson Jenny" userId="35153831-a041-4e19-963c-026d50be729b" providerId="ADAL" clId="{92A2C269-4D73-4F79-8AAD-4B3B6DD790D7}" dt="2022-05-17T07:21:36.812" v="2425"/>
          <ac:spMkLst>
            <pc:docMk/>
            <pc:sldMk cId="2190836274" sldId="429"/>
            <ac:spMk id="9" creationId="{3215386C-AC73-4B77-8328-63728EAC090C}"/>
          </ac:spMkLst>
        </pc:spChg>
        <pc:picChg chg="add mod">
          <ac:chgData name="Axelsson Jenny" userId="35153831-a041-4e19-963c-026d50be729b" providerId="ADAL" clId="{92A2C269-4D73-4F79-8AAD-4B3B6DD790D7}" dt="2022-05-17T07:21:29.768" v="2424" actId="1076"/>
          <ac:picMkLst>
            <pc:docMk/>
            <pc:sldMk cId="2190836274" sldId="429"/>
            <ac:picMk id="7" creationId="{992FC62F-B44F-43A7-B4CE-253D1EE2C03D}"/>
          </ac:picMkLst>
        </pc:picChg>
      </pc:sldChg>
      <pc:sldChg chg="addSp modSp add mod">
        <pc:chgData name="Axelsson Jenny" userId="35153831-a041-4e19-963c-026d50be729b" providerId="ADAL" clId="{92A2C269-4D73-4F79-8AAD-4B3B6DD790D7}" dt="2022-05-17T07:20:52.088" v="2422"/>
        <pc:sldMkLst>
          <pc:docMk/>
          <pc:sldMk cId="3904401344" sldId="430"/>
        </pc:sldMkLst>
        <pc:spChg chg="add mod">
          <ac:chgData name="Axelsson Jenny" userId="35153831-a041-4e19-963c-026d50be729b" providerId="ADAL" clId="{92A2C269-4D73-4F79-8AAD-4B3B6DD790D7}" dt="2022-05-17T07:20:52.088" v="2422"/>
          <ac:spMkLst>
            <pc:docMk/>
            <pc:sldMk cId="3904401344" sldId="430"/>
            <ac:spMk id="9" creationId="{5B0DE662-25E1-4CAC-93A0-C01973674C04}"/>
          </ac:spMkLst>
        </pc:spChg>
        <pc:picChg chg="add mod">
          <ac:chgData name="Axelsson Jenny" userId="35153831-a041-4e19-963c-026d50be729b" providerId="ADAL" clId="{92A2C269-4D73-4F79-8AAD-4B3B6DD790D7}" dt="2022-05-17T07:20:44.505" v="2421" actId="1076"/>
          <ac:picMkLst>
            <pc:docMk/>
            <pc:sldMk cId="3904401344" sldId="430"/>
            <ac:picMk id="7" creationId="{6F0719F7-A90B-44CC-99E3-54C80EFEDDD4}"/>
          </ac:picMkLst>
        </pc:picChg>
      </pc:sldChg>
      <pc:sldChg chg="addSp modSp add mod ord">
        <pc:chgData name="Axelsson Jenny" userId="35153831-a041-4e19-963c-026d50be729b" providerId="ADAL" clId="{92A2C269-4D73-4F79-8AAD-4B3B6DD790D7}" dt="2022-05-17T08:37:33.838" v="2545" actId="20577"/>
        <pc:sldMkLst>
          <pc:docMk/>
          <pc:sldMk cId="3748994139" sldId="431"/>
        </pc:sldMkLst>
        <pc:spChg chg="mod">
          <ac:chgData name="Axelsson Jenny" userId="35153831-a041-4e19-963c-026d50be729b" providerId="ADAL" clId="{92A2C269-4D73-4F79-8AAD-4B3B6DD790D7}" dt="2022-05-13T15:03:01.646" v="1115" actId="20577"/>
          <ac:spMkLst>
            <pc:docMk/>
            <pc:sldMk cId="3748994139" sldId="431"/>
            <ac:spMk id="2" creationId="{F9B7F370-B8B7-4499-B291-91A781E6C197}"/>
          </ac:spMkLst>
        </pc:spChg>
        <pc:spChg chg="mod">
          <ac:chgData name="Axelsson Jenny" userId="35153831-a041-4e19-963c-026d50be729b" providerId="ADAL" clId="{92A2C269-4D73-4F79-8AAD-4B3B6DD790D7}" dt="2022-05-17T08:37:33.838" v="2545" actId="20577"/>
          <ac:spMkLst>
            <pc:docMk/>
            <pc:sldMk cId="3748994139" sldId="431"/>
            <ac:spMk id="3" creationId="{5A8AC8A9-C3B3-482D-96FC-CC8052B0CA41}"/>
          </ac:spMkLst>
        </pc:spChg>
        <pc:spChg chg="add mod">
          <ac:chgData name="Axelsson Jenny" userId="35153831-a041-4e19-963c-026d50be729b" providerId="ADAL" clId="{92A2C269-4D73-4F79-8AAD-4B3B6DD790D7}" dt="2022-05-13T15:02:48.495" v="1113"/>
          <ac:spMkLst>
            <pc:docMk/>
            <pc:sldMk cId="3748994139" sldId="431"/>
            <ac:spMk id="9" creationId="{401AF0CD-E2D5-4F03-8549-7C765C854846}"/>
          </ac:spMkLst>
        </pc:spChg>
        <pc:picChg chg="add mod">
          <ac:chgData name="Axelsson Jenny" userId="35153831-a041-4e19-963c-026d50be729b" providerId="ADAL" clId="{92A2C269-4D73-4F79-8AAD-4B3B6DD790D7}" dt="2022-05-13T15:02:23.261" v="1112" actId="1076"/>
          <ac:picMkLst>
            <pc:docMk/>
            <pc:sldMk cId="3748994139" sldId="431"/>
            <ac:picMk id="8" creationId="{8552DAE9-7F57-4684-8213-3992961D330D}"/>
          </ac:picMkLst>
        </pc:picChg>
      </pc:sldChg>
      <pc:sldChg chg="add">
        <pc:chgData name="Axelsson Jenny" userId="35153831-a041-4e19-963c-026d50be729b" providerId="ADAL" clId="{92A2C269-4D73-4F79-8AAD-4B3B6DD790D7}" dt="2022-05-13T13:25:58.840" v="0"/>
        <pc:sldMkLst>
          <pc:docMk/>
          <pc:sldMk cId="3478264413" sldId="434"/>
        </pc:sldMkLst>
      </pc:sldChg>
      <pc:sldChg chg="modSp add mod">
        <pc:chgData name="Axelsson Jenny" userId="35153831-a041-4e19-963c-026d50be729b" providerId="ADAL" clId="{92A2C269-4D73-4F79-8AAD-4B3B6DD790D7}" dt="2022-05-16T12:45:31.386" v="2181" actId="20577"/>
        <pc:sldMkLst>
          <pc:docMk/>
          <pc:sldMk cId="1265343715" sldId="435"/>
        </pc:sldMkLst>
        <pc:spChg chg="mod">
          <ac:chgData name="Axelsson Jenny" userId="35153831-a041-4e19-963c-026d50be729b" providerId="ADAL" clId="{92A2C269-4D73-4F79-8AAD-4B3B6DD790D7}" dt="2022-05-16T12:45:31.386" v="2181" actId="20577"/>
          <ac:spMkLst>
            <pc:docMk/>
            <pc:sldMk cId="1265343715" sldId="435"/>
            <ac:spMk id="3" creationId="{20438FD9-94A8-428F-B926-D810C5700E6E}"/>
          </ac:spMkLst>
        </pc:spChg>
      </pc:sldChg>
      <pc:sldChg chg="add">
        <pc:chgData name="Axelsson Jenny" userId="35153831-a041-4e19-963c-026d50be729b" providerId="ADAL" clId="{92A2C269-4D73-4F79-8AAD-4B3B6DD790D7}" dt="2022-05-13T13:25:58.840" v="0"/>
        <pc:sldMkLst>
          <pc:docMk/>
          <pc:sldMk cId="914211073" sldId="436"/>
        </pc:sldMkLst>
      </pc:sldChg>
      <pc:sldChg chg="add del">
        <pc:chgData name="Axelsson Jenny" userId="35153831-a041-4e19-963c-026d50be729b" providerId="ADAL" clId="{92A2C269-4D73-4F79-8AAD-4B3B6DD790D7}" dt="2022-05-16T12:44:25.604" v="2179" actId="47"/>
        <pc:sldMkLst>
          <pc:docMk/>
          <pc:sldMk cId="292202074" sldId="438"/>
        </pc:sldMkLst>
      </pc:sldChg>
      <pc:sldChg chg="add">
        <pc:chgData name="Axelsson Jenny" userId="35153831-a041-4e19-963c-026d50be729b" providerId="ADAL" clId="{92A2C269-4D73-4F79-8AAD-4B3B6DD790D7}" dt="2022-05-13T13:25:58.840" v="0"/>
        <pc:sldMkLst>
          <pc:docMk/>
          <pc:sldMk cId="3639988436" sldId="439"/>
        </pc:sldMkLst>
      </pc:sldChg>
      <pc:sldChg chg="modSp add mod">
        <pc:chgData name="Axelsson Jenny" userId="35153831-a041-4e19-963c-026d50be729b" providerId="ADAL" clId="{92A2C269-4D73-4F79-8AAD-4B3B6DD790D7}" dt="2022-05-19T14:51:20.577" v="2819" actId="20577"/>
        <pc:sldMkLst>
          <pc:docMk/>
          <pc:sldMk cId="4292483444" sldId="440"/>
        </pc:sldMkLst>
        <pc:spChg chg="mod">
          <ac:chgData name="Axelsson Jenny" userId="35153831-a041-4e19-963c-026d50be729b" providerId="ADAL" clId="{92A2C269-4D73-4F79-8AAD-4B3B6DD790D7}" dt="2022-05-19T14:51:20.577" v="2819" actId="20577"/>
          <ac:spMkLst>
            <pc:docMk/>
            <pc:sldMk cId="4292483444" sldId="440"/>
            <ac:spMk id="5" creationId="{BC5C837C-7D53-4E50-BDC1-752E6FCF03A0}"/>
          </ac:spMkLst>
        </pc:spChg>
      </pc:sldChg>
      <pc:sldChg chg="modSp add mod">
        <pc:chgData name="Axelsson Jenny" userId="35153831-a041-4e19-963c-026d50be729b" providerId="ADAL" clId="{92A2C269-4D73-4F79-8AAD-4B3B6DD790D7}" dt="2022-05-17T07:37:23.766" v="2531" actId="6549"/>
        <pc:sldMkLst>
          <pc:docMk/>
          <pc:sldMk cId="625686830" sldId="441"/>
        </pc:sldMkLst>
        <pc:spChg chg="mod ord">
          <ac:chgData name="Axelsson Jenny" userId="35153831-a041-4e19-963c-026d50be729b" providerId="ADAL" clId="{92A2C269-4D73-4F79-8AAD-4B3B6DD790D7}" dt="2022-05-13T14:54:57.815" v="1109" actId="20577"/>
          <ac:spMkLst>
            <pc:docMk/>
            <pc:sldMk cId="625686830" sldId="441"/>
            <ac:spMk id="160" creationId="{00000000-0000-0000-0000-000000000000}"/>
          </ac:spMkLst>
        </pc:spChg>
        <pc:spChg chg="mod">
          <ac:chgData name="Axelsson Jenny" userId="35153831-a041-4e19-963c-026d50be729b" providerId="ADAL" clId="{92A2C269-4D73-4F79-8AAD-4B3B6DD790D7}" dt="2022-05-17T07:37:23.766" v="2531" actId="6549"/>
          <ac:spMkLst>
            <pc:docMk/>
            <pc:sldMk cId="625686830" sldId="441"/>
            <ac:spMk id="161" creationId="{00000000-0000-0000-0000-000000000000}"/>
          </ac:spMkLst>
        </pc:spChg>
        <pc:spChg chg="mod">
          <ac:chgData name="Axelsson Jenny" userId="35153831-a041-4e19-963c-026d50be729b" providerId="ADAL" clId="{92A2C269-4D73-4F79-8AAD-4B3B6DD790D7}" dt="2022-05-13T15:11:17.262" v="1224" actId="1076"/>
          <ac:spMkLst>
            <pc:docMk/>
            <pc:sldMk cId="625686830" sldId="441"/>
            <ac:spMk id="167" creationId="{00000000-0000-0000-0000-000000000000}"/>
          </ac:spMkLst>
        </pc:spChg>
        <pc:picChg chg="mod">
          <ac:chgData name="Axelsson Jenny" userId="35153831-a041-4e19-963c-026d50be729b" providerId="ADAL" clId="{92A2C269-4D73-4F79-8AAD-4B3B6DD790D7}" dt="2022-05-16T09:43:56.341" v="1984" actId="1076"/>
          <ac:picMkLst>
            <pc:docMk/>
            <pc:sldMk cId="625686830" sldId="441"/>
            <ac:picMk id="165" creationId="{00000000-0000-0000-0000-000000000000}"/>
          </ac:picMkLst>
        </pc:picChg>
        <pc:picChg chg="mod">
          <ac:chgData name="Axelsson Jenny" userId="35153831-a041-4e19-963c-026d50be729b" providerId="ADAL" clId="{92A2C269-4D73-4F79-8AAD-4B3B6DD790D7}" dt="2022-05-16T09:44:04.908" v="1986" actId="1076"/>
          <ac:picMkLst>
            <pc:docMk/>
            <pc:sldMk cId="625686830" sldId="441"/>
            <ac:picMk id="166" creationId="{00000000-0000-0000-0000-000000000000}"/>
          </ac:picMkLst>
        </pc:picChg>
      </pc:sldChg>
      <pc:sldChg chg="addSp delSp modSp add del mod">
        <pc:chgData name="Axelsson Jenny" userId="35153831-a041-4e19-963c-026d50be729b" providerId="ADAL" clId="{92A2C269-4D73-4F79-8AAD-4B3B6DD790D7}" dt="2022-05-13T14:01:56.438" v="173" actId="47"/>
        <pc:sldMkLst>
          <pc:docMk/>
          <pc:sldMk cId="3102941292" sldId="441"/>
        </pc:sldMkLst>
        <pc:spChg chg="mod">
          <ac:chgData name="Axelsson Jenny" userId="35153831-a041-4e19-963c-026d50be729b" providerId="ADAL" clId="{92A2C269-4D73-4F79-8AAD-4B3B6DD790D7}" dt="2022-05-13T14:00:47.021" v="155" actId="1076"/>
          <ac:spMkLst>
            <pc:docMk/>
            <pc:sldMk cId="3102941292" sldId="441"/>
            <ac:spMk id="3" creationId="{2696F7AE-D81B-BF48-ABF0-7D7AEB5C04A5}"/>
          </ac:spMkLst>
        </pc:spChg>
        <pc:spChg chg="add mod">
          <ac:chgData name="Axelsson Jenny" userId="35153831-a041-4e19-963c-026d50be729b" providerId="ADAL" clId="{92A2C269-4D73-4F79-8AAD-4B3B6DD790D7}" dt="2022-05-13T14:01:38.385" v="168" actId="21"/>
          <ac:spMkLst>
            <pc:docMk/>
            <pc:sldMk cId="3102941292" sldId="441"/>
            <ac:spMk id="4" creationId="{4904A400-0E1F-41D5-A1B2-9676370B6387}"/>
          </ac:spMkLst>
        </pc:spChg>
        <pc:spChg chg="del">
          <ac:chgData name="Axelsson Jenny" userId="35153831-a041-4e19-963c-026d50be729b" providerId="ADAL" clId="{92A2C269-4D73-4F79-8AAD-4B3B6DD790D7}" dt="2022-05-13T14:01:38.385" v="168" actId="21"/>
          <ac:spMkLst>
            <pc:docMk/>
            <pc:sldMk cId="3102941292" sldId="441"/>
            <ac:spMk id="241" creationId="{00000000-0000-0000-0000-000000000000}"/>
          </ac:spMkLst>
        </pc:spChg>
      </pc:sldChg>
      <pc:sldChg chg="addSp delSp modSp new mod ord">
        <pc:chgData name="Axelsson Jenny" userId="35153831-a041-4e19-963c-026d50be729b" providerId="ADAL" clId="{92A2C269-4D73-4F79-8AAD-4B3B6DD790D7}" dt="2022-05-18T09:00:54.802" v="2789" actId="20577"/>
        <pc:sldMkLst>
          <pc:docMk/>
          <pc:sldMk cId="2445221302" sldId="442"/>
        </pc:sldMkLst>
        <pc:spChg chg="mod">
          <ac:chgData name="Axelsson Jenny" userId="35153831-a041-4e19-963c-026d50be729b" providerId="ADAL" clId="{92A2C269-4D73-4F79-8AAD-4B3B6DD790D7}" dt="2022-05-13T14:25:35.267" v="927" actId="20577"/>
          <ac:spMkLst>
            <pc:docMk/>
            <pc:sldMk cId="2445221302" sldId="442"/>
            <ac:spMk id="2" creationId="{00839BFB-BE27-4FFA-AA43-B5877AF8F336}"/>
          </ac:spMkLst>
        </pc:spChg>
        <pc:spChg chg="mod">
          <ac:chgData name="Axelsson Jenny" userId="35153831-a041-4e19-963c-026d50be729b" providerId="ADAL" clId="{92A2C269-4D73-4F79-8AAD-4B3B6DD790D7}" dt="2022-05-18T09:00:54.802" v="2789" actId="20577"/>
          <ac:spMkLst>
            <pc:docMk/>
            <pc:sldMk cId="2445221302" sldId="442"/>
            <ac:spMk id="3" creationId="{DD1458BF-FD7A-4D6B-8E62-F0B09140F33D}"/>
          </ac:spMkLst>
        </pc:spChg>
        <pc:spChg chg="del">
          <ac:chgData name="Axelsson Jenny" userId="35153831-a041-4e19-963c-026d50be729b" providerId="ADAL" clId="{92A2C269-4D73-4F79-8AAD-4B3B6DD790D7}" dt="2022-05-13T15:26:59.633" v="1799" actId="478"/>
          <ac:spMkLst>
            <pc:docMk/>
            <pc:sldMk cId="2445221302" sldId="442"/>
            <ac:spMk id="6" creationId="{4945E050-EDDF-4097-A66D-FF17B1321B40}"/>
          </ac:spMkLst>
        </pc:spChg>
        <pc:picChg chg="add mod modCrop">
          <ac:chgData name="Axelsson Jenny" userId="35153831-a041-4e19-963c-026d50be729b" providerId="ADAL" clId="{92A2C269-4D73-4F79-8AAD-4B3B6DD790D7}" dt="2022-05-13T15:27:29.527" v="1807" actId="1076"/>
          <ac:picMkLst>
            <pc:docMk/>
            <pc:sldMk cId="2445221302" sldId="442"/>
            <ac:picMk id="7" creationId="{59FEA29D-A5F1-4719-A44C-7D1B9A4DE783}"/>
          </ac:picMkLst>
        </pc:picChg>
      </pc:sldChg>
      <pc:sldChg chg="addSp delSp modSp new del mod modClrScheme chgLayout">
        <pc:chgData name="Axelsson Jenny" userId="35153831-a041-4e19-963c-026d50be729b" providerId="ADAL" clId="{92A2C269-4D73-4F79-8AAD-4B3B6DD790D7}" dt="2022-05-16T14:01:26.477" v="2368" actId="47"/>
        <pc:sldMkLst>
          <pc:docMk/>
          <pc:sldMk cId="93374401" sldId="443"/>
        </pc:sldMkLst>
        <pc:spChg chg="mod">
          <ac:chgData name="Axelsson Jenny" userId="35153831-a041-4e19-963c-026d50be729b" providerId="ADAL" clId="{92A2C269-4D73-4F79-8AAD-4B3B6DD790D7}" dt="2022-05-16T14:01:14.862" v="2360" actId="1076"/>
          <ac:spMkLst>
            <pc:docMk/>
            <pc:sldMk cId="93374401" sldId="443"/>
            <ac:spMk id="2" creationId="{29226431-0EA8-4791-9949-8B5AB828DE37}"/>
          </ac:spMkLst>
        </pc:spChg>
        <pc:spChg chg="del">
          <ac:chgData name="Axelsson Jenny" userId="35153831-a041-4e19-963c-026d50be729b" providerId="ADAL" clId="{92A2C269-4D73-4F79-8AAD-4B3B6DD790D7}" dt="2022-05-16T14:00:07.982" v="2340" actId="478"/>
          <ac:spMkLst>
            <pc:docMk/>
            <pc:sldMk cId="93374401" sldId="443"/>
            <ac:spMk id="3" creationId="{9ABB81D2-8E72-468B-BBF2-EDCA7F6184DD}"/>
          </ac:spMkLst>
        </pc:spChg>
        <pc:spChg chg="add del">
          <ac:chgData name="Axelsson Jenny" userId="35153831-a041-4e19-963c-026d50be729b" providerId="ADAL" clId="{92A2C269-4D73-4F79-8AAD-4B3B6DD790D7}" dt="2022-05-16T14:01:02.705" v="2356" actId="26606"/>
          <ac:spMkLst>
            <pc:docMk/>
            <pc:sldMk cId="93374401" sldId="443"/>
            <ac:spMk id="4" creationId="{CD971F78-378F-48A9-B4B5-E16F2F4221B0}"/>
          </ac:spMkLst>
        </pc:spChg>
        <pc:spChg chg="mod ord modVis">
          <ac:chgData name="Axelsson Jenny" userId="35153831-a041-4e19-963c-026d50be729b" providerId="ADAL" clId="{92A2C269-4D73-4F79-8AAD-4B3B6DD790D7}" dt="2022-05-16T14:01:02.705" v="2356" actId="26606"/>
          <ac:spMkLst>
            <pc:docMk/>
            <pc:sldMk cId="93374401" sldId="443"/>
            <ac:spMk id="5" creationId="{6F88701C-847A-4C1F-B646-07FBA6A18996}"/>
          </ac:spMkLst>
        </pc:spChg>
        <pc:spChg chg="del">
          <ac:chgData name="Axelsson Jenny" userId="35153831-a041-4e19-963c-026d50be729b" providerId="ADAL" clId="{92A2C269-4D73-4F79-8AAD-4B3B6DD790D7}" dt="2022-05-16T14:00:09.854" v="2341" actId="478"/>
          <ac:spMkLst>
            <pc:docMk/>
            <pc:sldMk cId="93374401" sldId="443"/>
            <ac:spMk id="6" creationId="{433B3B3D-4371-43B2-995F-22C4A174548E}"/>
          </ac:spMkLst>
        </pc:spChg>
        <pc:spChg chg="add del mod">
          <ac:chgData name="Axelsson Jenny" userId="35153831-a041-4e19-963c-026d50be729b" providerId="ADAL" clId="{92A2C269-4D73-4F79-8AAD-4B3B6DD790D7}" dt="2022-05-16T14:00:56.700" v="2353" actId="26606"/>
          <ac:spMkLst>
            <pc:docMk/>
            <pc:sldMk cId="93374401" sldId="443"/>
            <ac:spMk id="71" creationId="{7F19B6EB-CBA9-5598-806A-57AE108A4545}"/>
          </ac:spMkLst>
        </pc:spChg>
        <pc:spChg chg="add del mod">
          <ac:chgData name="Axelsson Jenny" userId="35153831-a041-4e19-963c-026d50be729b" providerId="ADAL" clId="{92A2C269-4D73-4F79-8AAD-4B3B6DD790D7}" dt="2022-05-16T14:01:02.700" v="2355" actId="26606"/>
          <ac:spMkLst>
            <pc:docMk/>
            <pc:sldMk cId="93374401" sldId="443"/>
            <ac:spMk id="1028" creationId="{02CCD930-F860-AB96-85D8-50A926EA3F1D}"/>
          </ac:spMkLst>
        </pc:spChg>
        <pc:spChg chg="add mod">
          <ac:chgData name="Axelsson Jenny" userId="35153831-a041-4e19-963c-026d50be729b" providerId="ADAL" clId="{92A2C269-4D73-4F79-8AAD-4B3B6DD790D7}" dt="2022-05-16T14:01:02.705" v="2356" actId="26606"/>
          <ac:spMkLst>
            <pc:docMk/>
            <pc:sldMk cId="93374401" sldId="443"/>
            <ac:spMk id="1030" creationId="{31622C84-84FC-7B4F-1510-503FB9BEC0D6}"/>
          </ac:spMkLst>
        </pc:spChg>
        <pc:picChg chg="add del mod ord">
          <ac:chgData name="Axelsson Jenny" userId="35153831-a041-4e19-963c-026d50be729b" providerId="ADAL" clId="{92A2C269-4D73-4F79-8AAD-4B3B6DD790D7}" dt="2022-05-16T14:01:22.476" v="2367" actId="478"/>
          <ac:picMkLst>
            <pc:docMk/>
            <pc:sldMk cId="93374401" sldId="443"/>
            <ac:picMk id="1026" creationId="{3FDB8A53-63B5-4BF7-997B-F3D59DF98988}"/>
          </ac:picMkLst>
        </pc:picChg>
      </pc:sldChg>
      <pc:sldChg chg="addSp delSp modSp new mod">
        <pc:chgData name="Axelsson Jenny" userId="35153831-a041-4e19-963c-026d50be729b" providerId="ADAL" clId="{92A2C269-4D73-4F79-8AAD-4B3B6DD790D7}" dt="2022-05-16T14:13:03.489" v="2405" actId="1076"/>
        <pc:sldMkLst>
          <pc:docMk/>
          <pc:sldMk cId="1949711181" sldId="443"/>
        </pc:sldMkLst>
        <pc:spChg chg="del">
          <ac:chgData name="Axelsson Jenny" userId="35153831-a041-4e19-963c-026d50be729b" providerId="ADAL" clId="{92A2C269-4D73-4F79-8AAD-4B3B6DD790D7}" dt="2022-05-16T14:01:32.214" v="2370" actId="478"/>
          <ac:spMkLst>
            <pc:docMk/>
            <pc:sldMk cId="1949711181" sldId="443"/>
            <ac:spMk id="2" creationId="{F9144A32-CAF6-44B8-B8B2-03D47726EB30}"/>
          </ac:spMkLst>
        </pc:spChg>
        <pc:spChg chg="del">
          <ac:chgData name="Axelsson Jenny" userId="35153831-a041-4e19-963c-026d50be729b" providerId="ADAL" clId="{92A2C269-4D73-4F79-8AAD-4B3B6DD790D7}" dt="2022-05-16T14:01:34.496" v="2371" actId="478"/>
          <ac:spMkLst>
            <pc:docMk/>
            <pc:sldMk cId="1949711181" sldId="443"/>
            <ac:spMk id="3" creationId="{3662C8D6-D9AB-47BA-9EBB-7F058511D07F}"/>
          </ac:spMkLst>
        </pc:spChg>
        <pc:spChg chg="del">
          <ac:chgData name="Axelsson Jenny" userId="35153831-a041-4e19-963c-026d50be729b" providerId="ADAL" clId="{92A2C269-4D73-4F79-8AAD-4B3B6DD790D7}" dt="2022-05-16T14:01:36.143" v="2372" actId="478"/>
          <ac:spMkLst>
            <pc:docMk/>
            <pc:sldMk cId="1949711181" sldId="443"/>
            <ac:spMk id="6" creationId="{61059AE8-4CC2-48D2-8C1E-F44214079147}"/>
          </ac:spMkLst>
        </pc:spChg>
        <pc:spChg chg="add del mod">
          <ac:chgData name="Axelsson Jenny" userId="35153831-a041-4e19-963c-026d50be729b" providerId="ADAL" clId="{92A2C269-4D73-4F79-8AAD-4B3B6DD790D7}" dt="2022-05-16T14:05:08.116" v="2402" actId="478"/>
          <ac:spMkLst>
            <pc:docMk/>
            <pc:sldMk cId="1949711181" sldId="443"/>
            <ac:spMk id="9" creationId="{6BF04EF6-E2E2-4B63-AC85-4324778CF10C}"/>
          </ac:spMkLst>
        </pc:spChg>
        <pc:picChg chg="add mod ord">
          <ac:chgData name="Axelsson Jenny" userId="35153831-a041-4e19-963c-026d50be729b" providerId="ADAL" clId="{92A2C269-4D73-4F79-8AAD-4B3B6DD790D7}" dt="2022-05-16T14:13:03.489" v="2405" actId="1076"/>
          <ac:picMkLst>
            <pc:docMk/>
            <pc:sldMk cId="1949711181" sldId="443"/>
            <ac:picMk id="10" creationId="{979F02CF-2D91-4E5A-B58D-B7DCF10769EC}"/>
          </ac:picMkLst>
        </pc:picChg>
        <pc:picChg chg="add del mod">
          <ac:chgData name="Axelsson Jenny" userId="35153831-a041-4e19-963c-026d50be729b" providerId="ADAL" clId="{92A2C269-4D73-4F79-8AAD-4B3B6DD790D7}" dt="2022-05-16T14:04:24.404" v="2379" actId="478"/>
          <ac:picMkLst>
            <pc:docMk/>
            <pc:sldMk cId="1949711181" sldId="443"/>
            <ac:picMk id="2050" creationId="{89792FC7-2813-48D2-9A90-6CD3A0DE4077}"/>
          </ac:picMkLst>
        </pc:picChg>
      </pc:sldChg>
      <pc:sldChg chg="modSp add mod">
        <pc:chgData name="Axelsson Jenny" userId="35153831-a041-4e19-963c-026d50be729b" providerId="ADAL" clId="{92A2C269-4D73-4F79-8AAD-4B3B6DD790D7}" dt="2022-05-19T14:51:24.066" v="2820"/>
        <pc:sldMkLst>
          <pc:docMk/>
          <pc:sldMk cId="3383397550" sldId="444"/>
        </pc:sldMkLst>
        <pc:spChg chg="mod">
          <ac:chgData name="Axelsson Jenny" userId="35153831-a041-4e19-963c-026d50be729b" providerId="ADAL" clId="{92A2C269-4D73-4F79-8AAD-4B3B6DD790D7}" dt="2022-05-19T14:51:24.066" v="2820"/>
          <ac:spMkLst>
            <pc:docMk/>
            <pc:sldMk cId="3383397550" sldId="444"/>
            <ac:spMk id="5" creationId="{BC5C837C-7D53-4E50-BDC1-752E6FCF03A0}"/>
          </ac:spMkLst>
        </pc:spChg>
      </pc:sldChg>
      <pc:sldChg chg="modSp add mod">
        <pc:chgData name="Axelsson Jenny" userId="35153831-a041-4e19-963c-026d50be729b" providerId="ADAL" clId="{92A2C269-4D73-4F79-8AAD-4B3B6DD790D7}" dt="2022-05-19T14:51:29.642" v="2821"/>
        <pc:sldMkLst>
          <pc:docMk/>
          <pc:sldMk cId="899724776" sldId="445"/>
        </pc:sldMkLst>
        <pc:spChg chg="mod">
          <ac:chgData name="Axelsson Jenny" userId="35153831-a041-4e19-963c-026d50be729b" providerId="ADAL" clId="{92A2C269-4D73-4F79-8AAD-4B3B6DD790D7}" dt="2022-05-19T14:51:29.642" v="2821"/>
          <ac:spMkLst>
            <pc:docMk/>
            <pc:sldMk cId="899724776" sldId="445"/>
            <ac:spMk id="5" creationId="{BC5C837C-7D53-4E50-BDC1-752E6FCF03A0}"/>
          </ac:spMkLst>
        </pc:spChg>
      </pc:sldChg>
      <pc:sldChg chg="modSp add mod">
        <pc:chgData name="Axelsson Jenny" userId="35153831-a041-4e19-963c-026d50be729b" providerId="ADAL" clId="{92A2C269-4D73-4F79-8AAD-4B3B6DD790D7}" dt="2022-05-19T14:51:34.217" v="2822"/>
        <pc:sldMkLst>
          <pc:docMk/>
          <pc:sldMk cId="3180979836" sldId="446"/>
        </pc:sldMkLst>
        <pc:spChg chg="mod">
          <ac:chgData name="Axelsson Jenny" userId="35153831-a041-4e19-963c-026d50be729b" providerId="ADAL" clId="{92A2C269-4D73-4F79-8AAD-4B3B6DD790D7}" dt="2022-05-19T14:51:34.217" v="2822"/>
          <ac:spMkLst>
            <pc:docMk/>
            <pc:sldMk cId="3180979836" sldId="446"/>
            <ac:spMk id="5" creationId="{BC5C837C-7D53-4E50-BDC1-752E6FCF03A0}"/>
          </ac:spMkLst>
        </pc:spChg>
      </pc:sldChg>
      <pc:sldChg chg="modSp add mod ord">
        <pc:chgData name="Axelsson Jenny" userId="35153831-a041-4e19-963c-026d50be729b" providerId="ADAL" clId="{92A2C269-4D73-4F79-8AAD-4B3B6DD790D7}" dt="2022-05-19T14:51:43.478" v="2823"/>
        <pc:sldMkLst>
          <pc:docMk/>
          <pc:sldMk cId="1302150955" sldId="447"/>
        </pc:sldMkLst>
        <pc:spChg chg="mod">
          <ac:chgData name="Axelsson Jenny" userId="35153831-a041-4e19-963c-026d50be729b" providerId="ADAL" clId="{92A2C269-4D73-4F79-8AAD-4B3B6DD790D7}" dt="2022-05-19T14:51:43.478" v="2823"/>
          <ac:spMkLst>
            <pc:docMk/>
            <pc:sldMk cId="1302150955" sldId="447"/>
            <ac:spMk id="5" creationId="{BC5C837C-7D53-4E50-BDC1-752E6FCF03A0}"/>
          </ac:spMkLst>
        </pc:spChg>
      </pc:sldChg>
      <pc:sldChg chg="modSp add mod">
        <pc:chgData name="Axelsson Jenny" userId="35153831-a041-4e19-963c-026d50be729b" providerId="ADAL" clId="{92A2C269-4D73-4F79-8AAD-4B3B6DD790D7}" dt="2022-05-19T14:51:46.703" v="2824"/>
        <pc:sldMkLst>
          <pc:docMk/>
          <pc:sldMk cId="400105628" sldId="448"/>
        </pc:sldMkLst>
        <pc:spChg chg="mod">
          <ac:chgData name="Axelsson Jenny" userId="35153831-a041-4e19-963c-026d50be729b" providerId="ADAL" clId="{92A2C269-4D73-4F79-8AAD-4B3B6DD790D7}" dt="2022-05-19T14:51:46.703" v="2824"/>
          <ac:spMkLst>
            <pc:docMk/>
            <pc:sldMk cId="400105628" sldId="448"/>
            <ac:spMk id="5" creationId="{BC5C837C-7D53-4E50-BDC1-752E6FCF03A0}"/>
          </ac:spMkLst>
        </pc:spChg>
      </pc:sldChg>
      <pc:sldMasterChg chg="del delSldLayout">
        <pc:chgData name="Axelsson Jenny" userId="35153831-a041-4e19-963c-026d50be729b" providerId="ADAL" clId="{92A2C269-4D73-4F79-8AAD-4B3B6DD790D7}" dt="2022-05-13T13:26:07.271" v="8" actId="47"/>
        <pc:sldMasterMkLst>
          <pc:docMk/>
          <pc:sldMasterMk cId="2461492071" sldId="2147483648"/>
        </pc:sldMasterMkLst>
        <pc:sldLayoutChg chg="del">
          <pc:chgData name="Axelsson Jenny" userId="35153831-a041-4e19-963c-026d50be729b" providerId="ADAL" clId="{92A2C269-4D73-4F79-8AAD-4B3B6DD790D7}" dt="2022-05-13T13:26:07.271" v="8" actId="47"/>
          <pc:sldLayoutMkLst>
            <pc:docMk/>
            <pc:sldMasterMk cId="2461492071" sldId="2147483648"/>
            <pc:sldLayoutMk cId="3393733535" sldId="2147483650"/>
          </pc:sldLayoutMkLst>
        </pc:sldLayoutChg>
        <pc:sldLayoutChg chg="del">
          <pc:chgData name="Axelsson Jenny" userId="35153831-a041-4e19-963c-026d50be729b" providerId="ADAL" clId="{92A2C269-4D73-4F79-8AAD-4B3B6DD790D7}" dt="2022-05-13T13:26:07.271" v="8" actId="47"/>
          <pc:sldLayoutMkLst>
            <pc:docMk/>
            <pc:sldMasterMk cId="2461492071" sldId="2147483648"/>
            <pc:sldLayoutMk cId="3619709508" sldId="2147483658"/>
          </pc:sldLayoutMkLst>
        </pc:sldLayoutChg>
      </pc:sldMasterChg>
      <pc:sldMasterChg chg="delSldLayout">
        <pc:chgData name="Axelsson Jenny" userId="35153831-a041-4e19-963c-026d50be729b" providerId="ADAL" clId="{92A2C269-4D73-4F79-8AAD-4B3B6DD790D7}" dt="2022-05-16T09:43:15.792" v="1982" actId="47"/>
        <pc:sldMasterMkLst>
          <pc:docMk/>
          <pc:sldMasterMk cId="2358584115" sldId="2147483662"/>
        </pc:sldMasterMkLst>
        <pc:sldLayoutChg chg="del">
          <pc:chgData name="Axelsson Jenny" userId="35153831-a041-4e19-963c-026d50be729b" providerId="ADAL" clId="{92A2C269-4D73-4F79-8AAD-4B3B6DD790D7}" dt="2022-05-16T09:43:15.792" v="1982" actId="47"/>
          <pc:sldLayoutMkLst>
            <pc:docMk/>
            <pc:sldMasterMk cId="2358584115" sldId="2147483662"/>
            <pc:sldLayoutMk cId="1361993787" sldId="2147483665"/>
          </pc:sldLayoutMkLst>
        </pc:sldLayoutChg>
        <pc:sldLayoutChg chg="del">
          <pc:chgData name="Axelsson Jenny" userId="35153831-a041-4e19-963c-026d50be729b" providerId="ADAL" clId="{92A2C269-4D73-4F79-8AAD-4B3B6DD790D7}" dt="2022-05-13T13:58:47.762" v="133" actId="47"/>
          <pc:sldLayoutMkLst>
            <pc:docMk/>
            <pc:sldMasterMk cId="2358584115" sldId="2147483662"/>
            <pc:sldLayoutMk cId="1348143524" sldId="2147483667"/>
          </pc:sldLayoutMkLst>
        </pc:sldLayoutChg>
        <pc:sldLayoutChg chg="del">
          <pc:chgData name="Axelsson Jenny" userId="35153831-a041-4e19-963c-026d50be729b" providerId="ADAL" clId="{92A2C269-4D73-4F79-8AAD-4B3B6DD790D7}" dt="2022-05-13T14:01:56.438" v="173" actId="47"/>
          <pc:sldLayoutMkLst>
            <pc:docMk/>
            <pc:sldMasterMk cId="2358584115" sldId="2147483662"/>
            <pc:sldLayoutMk cId="331504855" sldId="2147483668"/>
          </pc:sldLayoutMkLst>
        </pc:sldLayoutChg>
      </pc:sldMasterChg>
    </pc:docChg>
  </pc:docChgLst>
  <pc:docChgLst>
    <pc:chgData name="Nordqvist Anne-Louise" userId="298fd2ba-5879-4078-9dd0-cb16eef6a860" providerId="ADAL" clId="{411ACCDE-3653-41FA-8468-2080EDD80002}"/>
    <pc:docChg chg="custSel addSld modSld">
      <pc:chgData name="Nordqvist Anne-Louise" userId="298fd2ba-5879-4078-9dd0-cb16eef6a860" providerId="ADAL" clId="{411ACCDE-3653-41FA-8468-2080EDD80002}" dt="2022-05-19T14:12:28.323" v="732" actId="20577"/>
      <pc:docMkLst>
        <pc:docMk/>
      </pc:docMkLst>
      <pc:sldChg chg="modSp add mod">
        <pc:chgData name="Nordqvist Anne-Louise" userId="298fd2ba-5879-4078-9dd0-cb16eef6a860" providerId="ADAL" clId="{411ACCDE-3653-41FA-8468-2080EDD80002}" dt="2022-05-19T14:10:39.979" v="385" actId="20577"/>
        <pc:sldMkLst>
          <pc:docMk/>
          <pc:sldMk cId="976003846" sldId="451"/>
        </pc:sldMkLst>
        <pc:spChg chg="mod">
          <ac:chgData name="Nordqvist Anne-Louise" userId="298fd2ba-5879-4078-9dd0-cb16eef6a860" providerId="ADAL" clId="{411ACCDE-3653-41FA-8468-2080EDD80002}" dt="2022-05-19T14:08:21.572" v="50" actId="20577"/>
          <ac:spMkLst>
            <pc:docMk/>
            <pc:sldMk cId="976003846" sldId="451"/>
            <ac:spMk id="2" creationId="{0CFCCCF5-BAA9-4E4C-96B6-6829CE835F12}"/>
          </ac:spMkLst>
        </pc:spChg>
        <pc:spChg chg="mod">
          <ac:chgData name="Nordqvist Anne-Louise" userId="298fd2ba-5879-4078-9dd0-cb16eef6a860" providerId="ADAL" clId="{411ACCDE-3653-41FA-8468-2080EDD80002}" dt="2022-05-19T14:10:39.979" v="385" actId="20577"/>
          <ac:spMkLst>
            <pc:docMk/>
            <pc:sldMk cId="976003846" sldId="451"/>
            <ac:spMk id="5" creationId="{BC5C837C-7D53-4E50-BDC1-752E6FCF03A0}"/>
          </ac:spMkLst>
        </pc:spChg>
      </pc:sldChg>
      <pc:sldChg chg="modSp mod">
        <pc:chgData name="Nordqvist Anne-Louise" userId="298fd2ba-5879-4078-9dd0-cb16eef6a860" providerId="ADAL" clId="{411ACCDE-3653-41FA-8468-2080EDD80002}" dt="2022-05-19T14:12:28.323" v="732" actId="20577"/>
        <pc:sldMkLst>
          <pc:docMk/>
          <pc:sldMk cId="2108188200" sldId="452"/>
        </pc:sldMkLst>
        <pc:spChg chg="mod">
          <ac:chgData name="Nordqvist Anne-Louise" userId="298fd2ba-5879-4078-9dd0-cb16eef6a860" providerId="ADAL" clId="{411ACCDE-3653-41FA-8468-2080EDD80002}" dt="2022-05-19T14:11:15.041" v="422" actId="20577"/>
          <ac:spMkLst>
            <pc:docMk/>
            <pc:sldMk cId="2108188200" sldId="452"/>
            <ac:spMk id="2" creationId="{0CFCCCF5-BAA9-4E4C-96B6-6829CE835F12}"/>
          </ac:spMkLst>
        </pc:spChg>
        <pc:spChg chg="mod">
          <ac:chgData name="Nordqvist Anne-Louise" userId="298fd2ba-5879-4078-9dd0-cb16eef6a860" providerId="ADAL" clId="{411ACCDE-3653-41FA-8468-2080EDD80002}" dt="2022-05-19T14:12:28.323" v="732" actId="20577"/>
          <ac:spMkLst>
            <pc:docMk/>
            <pc:sldMk cId="2108188200" sldId="452"/>
            <ac:spMk id="5" creationId="{BC5C837C-7D53-4E50-BDC1-752E6FCF03A0}"/>
          </ac:spMkLst>
        </pc:spChg>
      </pc:sldChg>
    </pc:docChg>
  </pc:docChgLst>
  <pc:docChgLst>
    <pc:chgData name="Axelsson Jenny" userId="35153831-a041-4e19-963c-026d50be729b" providerId="ADAL" clId="{24052DDC-3ED8-40DD-BA6C-D9806D67867F}"/>
    <pc:docChg chg="undo custSel addSld delSld modSld">
      <pc:chgData name="Axelsson Jenny" userId="35153831-a041-4e19-963c-026d50be729b" providerId="ADAL" clId="{24052DDC-3ED8-40DD-BA6C-D9806D67867F}" dt="2021-03-17T13:25:54.847" v="17" actId="47"/>
      <pc:docMkLst>
        <pc:docMk/>
      </pc:docMkLst>
      <pc:sldChg chg="addSp delSp modSp mod">
        <pc:chgData name="Axelsson Jenny" userId="35153831-a041-4e19-963c-026d50be729b" providerId="ADAL" clId="{24052DDC-3ED8-40DD-BA6C-D9806D67867F}" dt="2021-03-17T13:25:46.944" v="15" actId="113"/>
        <pc:sldMkLst>
          <pc:docMk/>
          <pc:sldMk cId="1351546238" sldId="267"/>
        </pc:sldMkLst>
        <pc:spChg chg="add del mod">
          <ac:chgData name="Axelsson Jenny" userId="35153831-a041-4e19-963c-026d50be729b" providerId="ADAL" clId="{24052DDC-3ED8-40DD-BA6C-D9806D67867F}" dt="2021-03-17T13:25:26.813" v="9"/>
          <ac:spMkLst>
            <pc:docMk/>
            <pc:sldMk cId="1351546238" sldId="267"/>
            <ac:spMk id="3" creationId="{53ECE7CC-CE6C-4769-A1DA-1E545A6EE0A7}"/>
          </ac:spMkLst>
        </pc:spChg>
        <pc:spChg chg="mod">
          <ac:chgData name="Axelsson Jenny" userId="35153831-a041-4e19-963c-026d50be729b" providerId="ADAL" clId="{24052DDC-3ED8-40DD-BA6C-D9806D67867F}" dt="2021-03-17T13:25:46.944" v="15" actId="113"/>
          <ac:spMkLst>
            <pc:docMk/>
            <pc:sldMk cId="1351546238" sldId="267"/>
            <ac:spMk id="5" creationId="{E66C5368-8331-464F-8C50-5BB97655E8A7}"/>
          </ac:spMkLst>
        </pc:spChg>
      </pc:sldChg>
      <pc:sldChg chg="del">
        <pc:chgData name="Axelsson Jenny" userId="35153831-a041-4e19-963c-026d50be729b" providerId="ADAL" clId="{24052DDC-3ED8-40DD-BA6C-D9806D67867F}" dt="2021-03-17T13:25:20.682" v="4" actId="47"/>
        <pc:sldMkLst>
          <pc:docMk/>
          <pc:sldMk cId="2850266236" sldId="300"/>
        </pc:sldMkLst>
      </pc:sldChg>
      <pc:sldChg chg="add del">
        <pc:chgData name="Axelsson Jenny" userId="35153831-a041-4e19-963c-026d50be729b" providerId="ADAL" clId="{24052DDC-3ED8-40DD-BA6C-D9806D67867F}" dt="2021-03-17T13:25:54.847" v="17" actId="47"/>
        <pc:sldMkLst>
          <pc:docMk/>
          <pc:sldMk cId="2401049353" sldId="321"/>
        </pc:sldMkLst>
      </pc:sldChg>
      <pc:sldChg chg="modSp add mod">
        <pc:chgData name="Axelsson Jenny" userId="35153831-a041-4e19-963c-026d50be729b" providerId="ADAL" clId="{24052DDC-3ED8-40DD-BA6C-D9806D67867F}" dt="2021-03-17T13:25:52.981" v="16" actId="113"/>
        <pc:sldMkLst>
          <pc:docMk/>
          <pc:sldMk cId="1025984966" sldId="322"/>
        </pc:sldMkLst>
        <pc:spChg chg="mod">
          <ac:chgData name="Axelsson Jenny" userId="35153831-a041-4e19-963c-026d50be729b" providerId="ADAL" clId="{24052DDC-3ED8-40DD-BA6C-D9806D67867F}" dt="2021-03-17T13:25:52.981" v="16" actId="113"/>
          <ac:spMkLst>
            <pc:docMk/>
            <pc:sldMk cId="1025984966" sldId="322"/>
            <ac:spMk id="5" creationId="{E66C5368-8331-464F-8C50-5BB97655E8A7}"/>
          </ac:spMkLst>
        </pc:spChg>
      </pc:sldChg>
      <pc:sldChg chg="del">
        <pc:chgData name="Axelsson Jenny" userId="35153831-a041-4e19-963c-026d50be729b" providerId="ADAL" clId="{24052DDC-3ED8-40DD-BA6C-D9806D67867F}" dt="2021-03-17T13:25:21.366" v="5" actId="47"/>
        <pc:sldMkLst>
          <pc:docMk/>
          <pc:sldMk cId="3939740925" sldId="322"/>
        </pc:sldMkLst>
      </pc:sldChg>
    </pc:docChg>
  </pc:docChgLst>
  <pc:docChgLst>
    <pc:chgData name="Axelsson Jenny" userId="S::jenny.axelsson@inera.se::35153831-a041-4e19-963c-026d50be729b" providerId="AD" clId="Web-{D044FB9F-61A4-48B9-8563-CC599C217850}"/>
    <pc:docChg chg="modSld">
      <pc:chgData name="Axelsson Jenny" userId="S::jenny.axelsson@inera.se::35153831-a041-4e19-963c-026d50be729b" providerId="AD" clId="Web-{D044FB9F-61A4-48B9-8563-CC599C217850}" dt="2021-01-26T07:57:17.705" v="1" actId="20577"/>
      <pc:docMkLst>
        <pc:docMk/>
      </pc:docMkLst>
      <pc:sldChg chg="modSp">
        <pc:chgData name="Axelsson Jenny" userId="S::jenny.axelsson@inera.se::35153831-a041-4e19-963c-026d50be729b" providerId="AD" clId="Web-{D044FB9F-61A4-48B9-8563-CC599C217850}" dt="2021-01-26T07:57:17.705" v="1" actId="20577"/>
        <pc:sldMkLst>
          <pc:docMk/>
          <pc:sldMk cId="2219666961" sldId="297"/>
        </pc:sldMkLst>
        <pc:spChg chg="mod">
          <ac:chgData name="Axelsson Jenny" userId="S::jenny.axelsson@inera.se::35153831-a041-4e19-963c-026d50be729b" providerId="AD" clId="Web-{D044FB9F-61A4-48B9-8563-CC599C217850}" dt="2021-01-26T07:57:17.705" v="1" actId="20577"/>
          <ac:spMkLst>
            <pc:docMk/>
            <pc:sldMk cId="2219666961" sldId="297"/>
            <ac:spMk id="2" creationId="{0C28D93B-810B-4496-B5A7-8067431BE536}"/>
          </ac:spMkLst>
        </pc:spChg>
      </pc:sldChg>
    </pc:docChg>
  </pc:docChgLst>
  <pc:docChgLst>
    <pc:chgData name="Axelsson Jenny" userId="35153831-a041-4e19-963c-026d50be729b" providerId="ADAL" clId="{45BF04A9-1534-43B6-9FE2-C4AAEAF0B80B}"/>
    <pc:docChg chg="undo custSel addSld delSld modSld sldOrd addMainMaster modMainMaster">
      <pc:chgData name="Axelsson Jenny" userId="35153831-a041-4e19-963c-026d50be729b" providerId="ADAL" clId="{45BF04A9-1534-43B6-9FE2-C4AAEAF0B80B}" dt="2022-04-19T12:21:21.843" v="281" actId="20577"/>
      <pc:docMkLst>
        <pc:docMk/>
      </pc:docMkLst>
      <pc:sldChg chg="add del">
        <pc:chgData name="Axelsson Jenny" userId="35153831-a041-4e19-963c-026d50be729b" providerId="ADAL" clId="{45BF04A9-1534-43B6-9FE2-C4AAEAF0B80B}" dt="2022-04-19T11:00:15.827" v="84"/>
        <pc:sldMkLst>
          <pc:docMk/>
          <pc:sldMk cId="764891389" sldId="256"/>
        </pc:sldMkLst>
      </pc:sldChg>
      <pc:sldChg chg="modSp add del">
        <pc:chgData name="Axelsson Jenny" userId="35153831-a041-4e19-963c-026d50be729b" providerId="ADAL" clId="{45BF04A9-1534-43B6-9FE2-C4AAEAF0B80B}" dt="2022-04-19T11:00:15.827" v="84"/>
        <pc:sldMkLst>
          <pc:docMk/>
          <pc:sldMk cId="820098474" sldId="260"/>
        </pc:sldMkLst>
        <pc:spChg chg="mod">
          <ac:chgData name="Axelsson Jenny" userId="35153831-a041-4e19-963c-026d50be729b" providerId="ADAL" clId="{45BF04A9-1534-43B6-9FE2-C4AAEAF0B80B}" dt="2022-04-19T10:59:56.031" v="80"/>
          <ac:spMkLst>
            <pc:docMk/>
            <pc:sldMk cId="820098474" sldId="260"/>
            <ac:spMk id="4" creationId="{0D85DBCC-0237-4025-B463-E52420A06E06}"/>
          </ac:spMkLst>
        </pc:spChg>
      </pc:sldChg>
      <pc:sldChg chg="modSp add del">
        <pc:chgData name="Axelsson Jenny" userId="35153831-a041-4e19-963c-026d50be729b" providerId="ADAL" clId="{45BF04A9-1534-43B6-9FE2-C4AAEAF0B80B}" dt="2022-04-19T11:00:15.827" v="84"/>
        <pc:sldMkLst>
          <pc:docMk/>
          <pc:sldMk cId="889137311" sldId="261"/>
        </pc:sldMkLst>
        <pc:spChg chg="mod">
          <ac:chgData name="Axelsson Jenny" userId="35153831-a041-4e19-963c-026d50be729b" providerId="ADAL" clId="{45BF04A9-1534-43B6-9FE2-C4AAEAF0B80B}" dt="2022-04-19T10:59:56.031" v="80"/>
          <ac:spMkLst>
            <pc:docMk/>
            <pc:sldMk cId="889137311" sldId="261"/>
            <ac:spMk id="4" creationId="{31BC725B-0D54-457F-857C-0CD34F2DE18B}"/>
          </ac:spMkLst>
        </pc:spChg>
      </pc:sldChg>
      <pc:sldChg chg="modSp mod">
        <pc:chgData name="Axelsson Jenny" userId="35153831-a041-4e19-963c-026d50be729b" providerId="ADAL" clId="{45BF04A9-1534-43B6-9FE2-C4AAEAF0B80B}" dt="2022-04-19T10:58:11.625" v="53" actId="6549"/>
        <pc:sldMkLst>
          <pc:docMk/>
          <pc:sldMk cId="1036871477" sldId="264"/>
        </pc:sldMkLst>
        <pc:spChg chg="mod">
          <ac:chgData name="Axelsson Jenny" userId="35153831-a041-4e19-963c-026d50be729b" providerId="ADAL" clId="{45BF04A9-1534-43B6-9FE2-C4AAEAF0B80B}" dt="2022-04-19T10:58:11.625" v="53" actId="6549"/>
          <ac:spMkLst>
            <pc:docMk/>
            <pc:sldMk cId="1036871477" sldId="264"/>
            <ac:spMk id="3" creationId="{3E215758-AD04-4783-8B7A-EA30D128D138}"/>
          </ac:spMkLst>
        </pc:spChg>
      </pc:sldChg>
      <pc:sldChg chg="modSp add del">
        <pc:chgData name="Axelsson Jenny" userId="35153831-a041-4e19-963c-026d50be729b" providerId="ADAL" clId="{45BF04A9-1534-43B6-9FE2-C4AAEAF0B80B}" dt="2022-04-19T11:00:15.827" v="84"/>
        <pc:sldMkLst>
          <pc:docMk/>
          <pc:sldMk cId="1573803966" sldId="265"/>
        </pc:sldMkLst>
        <pc:spChg chg="mod">
          <ac:chgData name="Axelsson Jenny" userId="35153831-a041-4e19-963c-026d50be729b" providerId="ADAL" clId="{45BF04A9-1534-43B6-9FE2-C4AAEAF0B80B}" dt="2022-04-19T10:59:56.031" v="80"/>
          <ac:spMkLst>
            <pc:docMk/>
            <pc:sldMk cId="1573803966" sldId="265"/>
            <ac:spMk id="4" creationId="{BA9B7D03-0A91-4893-B1B3-69D2FEE9E5C8}"/>
          </ac:spMkLst>
        </pc:spChg>
      </pc:sldChg>
      <pc:sldChg chg="modSp add del mod">
        <pc:chgData name="Axelsson Jenny" userId="35153831-a041-4e19-963c-026d50be729b" providerId="ADAL" clId="{45BF04A9-1534-43B6-9FE2-C4AAEAF0B80B}" dt="2022-04-19T11:00:15.827" v="84"/>
        <pc:sldMkLst>
          <pc:docMk/>
          <pc:sldMk cId="1645728080" sldId="266"/>
        </pc:sldMkLst>
        <pc:spChg chg="mod">
          <ac:chgData name="Axelsson Jenny" userId="35153831-a041-4e19-963c-026d50be729b" providerId="ADAL" clId="{45BF04A9-1534-43B6-9FE2-C4AAEAF0B80B}" dt="2022-04-19T11:00:15.827" v="84"/>
          <ac:spMkLst>
            <pc:docMk/>
            <pc:sldMk cId="1645728080" sldId="266"/>
            <ac:spMk id="2" creationId="{918C5A70-247D-4B65-9738-F9988020228C}"/>
          </ac:spMkLst>
        </pc:spChg>
        <pc:spChg chg="mod">
          <ac:chgData name="Axelsson Jenny" userId="35153831-a041-4e19-963c-026d50be729b" providerId="ADAL" clId="{45BF04A9-1534-43B6-9FE2-C4AAEAF0B80B}" dt="2022-04-19T10:59:56.031" v="80"/>
          <ac:spMkLst>
            <pc:docMk/>
            <pc:sldMk cId="1645728080" sldId="266"/>
            <ac:spMk id="4" creationId="{E8A2EDC8-51B2-4F82-88C0-1DD1C2CB314E}"/>
          </ac:spMkLst>
        </pc:spChg>
      </pc:sldChg>
      <pc:sldChg chg="modSp mod">
        <pc:chgData name="Axelsson Jenny" userId="35153831-a041-4e19-963c-026d50be729b" providerId="ADAL" clId="{45BF04A9-1534-43B6-9FE2-C4AAEAF0B80B}" dt="2022-04-19T12:21:09.356" v="266" actId="20577"/>
        <pc:sldMkLst>
          <pc:docMk/>
          <pc:sldMk cId="2974578957" sldId="312"/>
        </pc:sldMkLst>
        <pc:spChg chg="mod">
          <ac:chgData name="Axelsson Jenny" userId="35153831-a041-4e19-963c-026d50be729b" providerId="ADAL" clId="{45BF04A9-1534-43B6-9FE2-C4AAEAF0B80B}" dt="2022-04-19T12:21:09.356" v="266" actId="20577"/>
          <ac:spMkLst>
            <pc:docMk/>
            <pc:sldMk cId="2974578957" sldId="312"/>
            <ac:spMk id="4" creationId="{7C3A8192-81A1-4B54-8CE2-055E1C43C19C}"/>
          </ac:spMkLst>
        </pc:spChg>
      </pc:sldChg>
      <pc:sldChg chg="modSp mod">
        <pc:chgData name="Axelsson Jenny" userId="35153831-a041-4e19-963c-026d50be729b" providerId="ADAL" clId="{45BF04A9-1534-43B6-9FE2-C4AAEAF0B80B}" dt="2022-04-19T12:08:53.102" v="117" actId="20577"/>
        <pc:sldMkLst>
          <pc:docMk/>
          <pc:sldMk cId="3738514320" sldId="327"/>
        </pc:sldMkLst>
        <pc:spChg chg="mod">
          <ac:chgData name="Axelsson Jenny" userId="35153831-a041-4e19-963c-026d50be729b" providerId="ADAL" clId="{45BF04A9-1534-43B6-9FE2-C4AAEAF0B80B}" dt="2022-04-19T12:08:53.102" v="117" actId="20577"/>
          <ac:spMkLst>
            <pc:docMk/>
            <pc:sldMk cId="3738514320" sldId="327"/>
            <ac:spMk id="5" creationId="{BC5C837C-7D53-4E50-BDC1-752E6FCF03A0}"/>
          </ac:spMkLst>
        </pc:spChg>
      </pc:sldChg>
      <pc:sldChg chg="modSp mod">
        <pc:chgData name="Axelsson Jenny" userId="35153831-a041-4e19-963c-026d50be729b" providerId="ADAL" clId="{45BF04A9-1534-43B6-9FE2-C4AAEAF0B80B}" dt="2022-04-19T12:12:39.799" v="119" actId="113"/>
        <pc:sldMkLst>
          <pc:docMk/>
          <pc:sldMk cId="4158201782" sldId="328"/>
        </pc:sldMkLst>
        <pc:spChg chg="mod">
          <ac:chgData name="Axelsson Jenny" userId="35153831-a041-4e19-963c-026d50be729b" providerId="ADAL" clId="{45BF04A9-1534-43B6-9FE2-C4AAEAF0B80B}" dt="2022-04-19T12:12:39.799" v="119" actId="113"/>
          <ac:spMkLst>
            <pc:docMk/>
            <pc:sldMk cId="4158201782" sldId="328"/>
            <ac:spMk id="5" creationId="{BC5C837C-7D53-4E50-BDC1-752E6FCF03A0}"/>
          </ac:spMkLst>
        </pc:spChg>
      </pc:sldChg>
      <pc:sldChg chg="modSp add mod">
        <pc:chgData name="Axelsson Jenny" userId="35153831-a041-4e19-963c-026d50be729b" providerId="ADAL" clId="{45BF04A9-1534-43B6-9FE2-C4AAEAF0B80B}" dt="2022-04-19T12:12:58.654" v="125" actId="113"/>
        <pc:sldMkLst>
          <pc:docMk/>
          <pc:sldMk cId="3889687031" sldId="329"/>
        </pc:sldMkLst>
        <pc:spChg chg="mod">
          <ac:chgData name="Axelsson Jenny" userId="35153831-a041-4e19-963c-026d50be729b" providerId="ADAL" clId="{45BF04A9-1534-43B6-9FE2-C4AAEAF0B80B}" dt="2022-04-19T12:12:58.654" v="125" actId="113"/>
          <ac:spMkLst>
            <pc:docMk/>
            <pc:sldMk cId="3889687031" sldId="329"/>
            <ac:spMk id="5" creationId="{BC5C837C-7D53-4E50-BDC1-752E6FCF03A0}"/>
          </ac:spMkLst>
        </pc:spChg>
      </pc:sldChg>
      <pc:sldChg chg="modSp add mod">
        <pc:chgData name="Axelsson Jenny" userId="35153831-a041-4e19-963c-026d50be729b" providerId="ADAL" clId="{45BF04A9-1534-43B6-9FE2-C4AAEAF0B80B}" dt="2022-04-19T12:13:08.662" v="128" actId="113"/>
        <pc:sldMkLst>
          <pc:docMk/>
          <pc:sldMk cId="2020359440" sldId="330"/>
        </pc:sldMkLst>
        <pc:spChg chg="mod">
          <ac:chgData name="Axelsson Jenny" userId="35153831-a041-4e19-963c-026d50be729b" providerId="ADAL" clId="{45BF04A9-1534-43B6-9FE2-C4AAEAF0B80B}" dt="2022-04-19T12:13:08.662" v="128" actId="113"/>
          <ac:spMkLst>
            <pc:docMk/>
            <pc:sldMk cId="2020359440" sldId="330"/>
            <ac:spMk id="5" creationId="{BC5C837C-7D53-4E50-BDC1-752E6FCF03A0}"/>
          </ac:spMkLst>
        </pc:spChg>
      </pc:sldChg>
      <pc:sldChg chg="modSp add mod">
        <pc:chgData name="Axelsson Jenny" userId="35153831-a041-4e19-963c-026d50be729b" providerId="ADAL" clId="{45BF04A9-1534-43B6-9FE2-C4AAEAF0B80B}" dt="2022-04-19T12:13:19.886" v="131" actId="113"/>
        <pc:sldMkLst>
          <pc:docMk/>
          <pc:sldMk cId="3981310401" sldId="331"/>
        </pc:sldMkLst>
        <pc:spChg chg="mod">
          <ac:chgData name="Axelsson Jenny" userId="35153831-a041-4e19-963c-026d50be729b" providerId="ADAL" clId="{45BF04A9-1534-43B6-9FE2-C4AAEAF0B80B}" dt="2022-04-19T12:13:19.886" v="131" actId="113"/>
          <ac:spMkLst>
            <pc:docMk/>
            <pc:sldMk cId="3981310401" sldId="331"/>
            <ac:spMk id="5" creationId="{BC5C837C-7D53-4E50-BDC1-752E6FCF03A0}"/>
          </ac:spMkLst>
        </pc:spChg>
      </pc:sldChg>
      <pc:sldChg chg="modSp new mod">
        <pc:chgData name="Axelsson Jenny" userId="35153831-a041-4e19-963c-026d50be729b" providerId="ADAL" clId="{45BF04A9-1534-43B6-9FE2-C4AAEAF0B80B}" dt="2022-04-19T12:13:51.770" v="216" actId="6549"/>
        <pc:sldMkLst>
          <pc:docMk/>
          <pc:sldMk cId="4230818810" sldId="332"/>
        </pc:sldMkLst>
        <pc:spChg chg="mod">
          <ac:chgData name="Axelsson Jenny" userId="35153831-a041-4e19-963c-026d50be729b" providerId="ADAL" clId="{45BF04A9-1534-43B6-9FE2-C4AAEAF0B80B}" dt="2022-04-19T12:13:42.883" v="214" actId="20577"/>
          <ac:spMkLst>
            <pc:docMk/>
            <pc:sldMk cId="4230818810" sldId="332"/>
            <ac:spMk id="2" creationId="{576840DE-D0FF-4145-843F-B1AB943A3D65}"/>
          </ac:spMkLst>
        </pc:spChg>
        <pc:spChg chg="mod">
          <ac:chgData name="Axelsson Jenny" userId="35153831-a041-4e19-963c-026d50be729b" providerId="ADAL" clId="{45BF04A9-1534-43B6-9FE2-C4AAEAF0B80B}" dt="2022-04-19T12:13:51.770" v="216" actId="6549"/>
          <ac:spMkLst>
            <pc:docMk/>
            <pc:sldMk cId="4230818810" sldId="332"/>
            <ac:spMk id="3" creationId="{8F0BB36F-BDC0-4C02-A2FD-EB8CEA53D633}"/>
          </ac:spMkLst>
        </pc:spChg>
      </pc:sldChg>
      <pc:sldChg chg="add del ord">
        <pc:chgData name="Axelsson Jenny" userId="35153831-a041-4e19-963c-026d50be729b" providerId="ADAL" clId="{45BF04A9-1534-43B6-9FE2-C4AAEAF0B80B}" dt="2022-04-19T12:20:34.780" v="262"/>
        <pc:sldMkLst>
          <pc:docMk/>
          <pc:sldMk cId="764891389" sldId="333"/>
        </pc:sldMkLst>
      </pc:sldChg>
      <pc:sldChg chg="modSp add del mod ord">
        <pc:chgData name="Axelsson Jenny" userId="35153831-a041-4e19-963c-026d50be729b" providerId="ADAL" clId="{45BF04A9-1534-43B6-9FE2-C4AAEAF0B80B}" dt="2022-04-19T12:20:34.780" v="262"/>
        <pc:sldMkLst>
          <pc:docMk/>
          <pc:sldMk cId="4103686309" sldId="334"/>
        </pc:sldMkLst>
        <pc:spChg chg="mod">
          <ac:chgData name="Axelsson Jenny" userId="35153831-a041-4e19-963c-026d50be729b" providerId="ADAL" clId="{45BF04A9-1534-43B6-9FE2-C4AAEAF0B80B}" dt="2022-04-19T12:20:04.779" v="235" actId="27636"/>
          <ac:spMkLst>
            <pc:docMk/>
            <pc:sldMk cId="4103686309" sldId="334"/>
            <ac:spMk id="2" creationId="{00000000-0000-0000-0000-000000000000}"/>
          </ac:spMkLst>
        </pc:spChg>
      </pc:sldChg>
      <pc:sldChg chg="add del ord">
        <pc:chgData name="Axelsson Jenny" userId="35153831-a041-4e19-963c-026d50be729b" providerId="ADAL" clId="{45BF04A9-1534-43B6-9FE2-C4AAEAF0B80B}" dt="2022-04-19T12:20:34.780" v="262"/>
        <pc:sldMkLst>
          <pc:docMk/>
          <pc:sldMk cId="820098474" sldId="335"/>
        </pc:sldMkLst>
      </pc:sldChg>
      <pc:sldChg chg="add del ord">
        <pc:chgData name="Axelsson Jenny" userId="35153831-a041-4e19-963c-026d50be729b" providerId="ADAL" clId="{45BF04A9-1534-43B6-9FE2-C4AAEAF0B80B}" dt="2022-04-19T12:20:34.780" v="262"/>
        <pc:sldMkLst>
          <pc:docMk/>
          <pc:sldMk cId="889137311" sldId="336"/>
        </pc:sldMkLst>
      </pc:sldChg>
      <pc:sldChg chg="add del ord">
        <pc:chgData name="Axelsson Jenny" userId="35153831-a041-4e19-963c-026d50be729b" providerId="ADAL" clId="{45BF04A9-1534-43B6-9FE2-C4AAEAF0B80B}" dt="2022-04-19T12:20:34.780" v="262"/>
        <pc:sldMkLst>
          <pc:docMk/>
          <pc:sldMk cId="2354291851" sldId="337"/>
        </pc:sldMkLst>
      </pc:sldChg>
      <pc:sldChg chg="add del ord">
        <pc:chgData name="Axelsson Jenny" userId="35153831-a041-4e19-963c-026d50be729b" providerId="ADAL" clId="{45BF04A9-1534-43B6-9FE2-C4AAEAF0B80B}" dt="2022-04-19T12:20:34.780" v="262"/>
        <pc:sldMkLst>
          <pc:docMk/>
          <pc:sldMk cId="1662282722" sldId="338"/>
        </pc:sldMkLst>
      </pc:sldChg>
      <pc:sldChg chg="modSp add del mod ord">
        <pc:chgData name="Axelsson Jenny" userId="35153831-a041-4e19-963c-026d50be729b" providerId="ADAL" clId="{45BF04A9-1534-43B6-9FE2-C4AAEAF0B80B}" dt="2022-04-19T12:20:34.780" v="262"/>
        <pc:sldMkLst>
          <pc:docMk/>
          <pc:sldMk cId="1645728080" sldId="339"/>
        </pc:sldMkLst>
        <pc:spChg chg="mod">
          <ac:chgData name="Axelsson Jenny" userId="35153831-a041-4e19-963c-026d50be729b" providerId="ADAL" clId="{45BF04A9-1534-43B6-9FE2-C4AAEAF0B80B}" dt="2022-04-19T12:20:16.481" v="260" actId="27636"/>
          <ac:spMkLst>
            <pc:docMk/>
            <pc:sldMk cId="1645728080" sldId="339"/>
            <ac:spMk id="2" creationId="{918C5A70-247D-4B65-9738-F9988020228C}"/>
          </ac:spMkLst>
        </pc:spChg>
      </pc:sldChg>
      <pc:sldChg chg="add del ord">
        <pc:chgData name="Axelsson Jenny" userId="35153831-a041-4e19-963c-026d50be729b" providerId="ADAL" clId="{45BF04A9-1534-43B6-9FE2-C4AAEAF0B80B}" dt="2022-04-19T12:20:34.780" v="262"/>
        <pc:sldMkLst>
          <pc:docMk/>
          <pc:sldMk cId="1573803966" sldId="340"/>
        </pc:sldMkLst>
      </pc:sldChg>
      <pc:sldChg chg="modSp new mod">
        <pc:chgData name="Axelsson Jenny" userId="35153831-a041-4e19-963c-026d50be729b" providerId="ADAL" clId="{45BF04A9-1534-43B6-9FE2-C4AAEAF0B80B}" dt="2022-04-19T12:21:21.843" v="281" actId="20577"/>
        <pc:sldMkLst>
          <pc:docMk/>
          <pc:sldMk cId="2742915980" sldId="341"/>
        </pc:sldMkLst>
        <pc:spChg chg="mod">
          <ac:chgData name="Axelsson Jenny" userId="35153831-a041-4e19-963c-026d50be729b" providerId="ADAL" clId="{45BF04A9-1534-43B6-9FE2-C4AAEAF0B80B}" dt="2022-04-19T12:21:21.843" v="281" actId="20577"/>
          <ac:spMkLst>
            <pc:docMk/>
            <pc:sldMk cId="2742915980" sldId="341"/>
            <ac:spMk id="2" creationId="{E4B2BEF8-01CD-4A03-9D30-20586E8F99A3}"/>
          </ac:spMkLst>
        </pc:spChg>
      </pc:sldChg>
      <pc:sldChg chg="del">
        <pc:chgData name="Axelsson Jenny" userId="35153831-a041-4e19-963c-026d50be729b" providerId="ADAL" clId="{45BF04A9-1534-43B6-9FE2-C4AAEAF0B80B}" dt="2022-04-19T12:12:44.792" v="120" actId="47"/>
        <pc:sldMkLst>
          <pc:docMk/>
          <pc:sldMk cId="4191591904" sldId="343"/>
        </pc:sldMkLst>
      </pc:sldChg>
      <pc:sldChg chg="del">
        <pc:chgData name="Axelsson Jenny" userId="35153831-a041-4e19-963c-026d50be729b" providerId="ADAL" clId="{45BF04A9-1534-43B6-9FE2-C4AAEAF0B80B}" dt="2022-04-19T12:12:48.374" v="122" actId="47"/>
        <pc:sldMkLst>
          <pc:docMk/>
          <pc:sldMk cId="1961555816" sldId="345"/>
        </pc:sldMkLst>
      </pc:sldChg>
      <pc:sldChg chg="del">
        <pc:chgData name="Axelsson Jenny" userId="35153831-a041-4e19-963c-026d50be729b" providerId="ADAL" clId="{45BF04A9-1534-43B6-9FE2-C4AAEAF0B80B}" dt="2022-04-19T12:12:46.992" v="121" actId="47"/>
        <pc:sldMkLst>
          <pc:docMk/>
          <pc:sldMk cId="128778050" sldId="348"/>
        </pc:sldMkLst>
      </pc:sldChg>
      <pc:sldChg chg="modSp add del mod">
        <pc:chgData name="Axelsson Jenny" userId="35153831-a041-4e19-963c-026d50be729b" providerId="ADAL" clId="{45BF04A9-1534-43B6-9FE2-C4AAEAF0B80B}" dt="2022-04-19T11:00:15.827" v="84"/>
        <pc:sldMkLst>
          <pc:docMk/>
          <pc:sldMk cId="4103686309" sldId="349"/>
        </pc:sldMkLst>
        <pc:spChg chg="mod">
          <ac:chgData name="Axelsson Jenny" userId="35153831-a041-4e19-963c-026d50be729b" providerId="ADAL" clId="{45BF04A9-1534-43B6-9FE2-C4AAEAF0B80B}" dt="2022-04-19T11:00:15.827" v="84"/>
          <ac:spMkLst>
            <pc:docMk/>
            <pc:sldMk cId="4103686309" sldId="349"/>
            <ac:spMk id="2" creationId="{00000000-0000-0000-0000-000000000000}"/>
          </ac:spMkLst>
        </pc:spChg>
        <pc:spChg chg="mod">
          <ac:chgData name="Axelsson Jenny" userId="35153831-a041-4e19-963c-026d50be729b" providerId="ADAL" clId="{45BF04A9-1534-43B6-9FE2-C4AAEAF0B80B}" dt="2022-04-19T10:59:56.031" v="80"/>
          <ac:spMkLst>
            <pc:docMk/>
            <pc:sldMk cId="4103686309" sldId="349"/>
            <ac:spMk id="4" creationId="{00000000-0000-0000-0000-000000000000}"/>
          </ac:spMkLst>
        </pc:spChg>
      </pc:sldChg>
      <pc:sldChg chg="modSp add del">
        <pc:chgData name="Axelsson Jenny" userId="35153831-a041-4e19-963c-026d50be729b" providerId="ADAL" clId="{45BF04A9-1534-43B6-9FE2-C4AAEAF0B80B}" dt="2022-04-19T11:00:15.827" v="84"/>
        <pc:sldMkLst>
          <pc:docMk/>
          <pc:sldMk cId="2354291851" sldId="350"/>
        </pc:sldMkLst>
        <pc:spChg chg="mod">
          <ac:chgData name="Axelsson Jenny" userId="35153831-a041-4e19-963c-026d50be729b" providerId="ADAL" clId="{45BF04A9-1534-43B6-9FE2-C4AAEAF0B80B}" dt="2022-04-19T10:59:56.031" v="80"/>
          <ac:spMkLst>
            <pc:docMk/>
            <pc:sldMk cId="2354291851" sldId="350"/>
            <ac:spMk id="4" creationId="{D438BB3D-1327-4931-B1A1-7CCD615FA6B2}"/>
          </ac:spMkLst>
        </pc:spChg>
      </pc:sldChg>
      <pc:sldChg chg="modSp add del">
        <pc:chgData name="Axelsson Jenny" userId="35153831-a041-4e19-963c-026d50be729b" providerId="ADAL" clId="{45BF04A9-1534-43B6-9FE2-C4AAEAF0B80B}" dt="2022-04-19T11:00:15.827" v="84"/>
        <pc:sldMkLst>
          <pc:docMk/>
          <pc:sldMk cId="1662282722" sldId="351"/>
        </pc:sldMkLst>
        <pc:spChg chg="mod">
          <ac:chgData name="Axelsson Jenny" userId="35153831-a041-4e19-963c-026d50be729b" providerId="ADAL" clId="{45BF04A9-1534-43B6-9FE2-C4AAEAF0B80B}" dt="2022-04-19T10:59:56.031" v="80"/>
          <ac:spMkLst>
            <pc:docMk/>
            <pc:sldMk cId="1662282722" sldId="351"/>
            <ac:spMk id="4" creationId="{A14D7A74-3F94-48FC-9ED5-8E1AACCF388B}"/>
          </ac:spMkLst>
        </pc:spChg>
      </pc:sldChg>
      <pc:sldMasterChg chg="add addSldLayout">
        <pc:chgData name="Axelsson Jenny" userId="35153831-a041-4e19-963c-026d50be729b" providerId="ADAL" clId="{45BF04A9-1534-43B6-9FE2-C4AAEAF0B80B}" dt="2022-04-19T12:20:16.327" v="246" actId="27028"/>
        <pc:sldMasterMkLst>
          <pc:docMk/>
          <pc:sldMasterMk cId="2461492071" sldId="2147483648"/>
        </pc:sldMasterMkLst>
        <pc:sldLayoutChg chg="add">
          <pc:chgData name="Axelsson Jenny" userId="35153831-a041-4e19-963c-026d50be729b" providerId="ADAL" clId="{45BF04A9-1534-43B6-9FE2-C4AAEAF0B80B}" dt="2022-04-19T12:20:16.327" v="246" actId="27028"/>
          <pc:sldLayoutMkLst>
            <pc:docMk/>
            <pc:sldMasterMk cId="2461492071" sldId="2147483648"/>
            <pc:sldLayoutMk cId="3393733535" sldId="2147483650"/>
          </pc:sldLayoutMkLst>
        </pc:sldLayoutChg>
        <pc:sldLayoutChg chg="add">
          <pc:chgData name="Axelsson Jenny" userId="35153831-a041-4e19-963c-026d50be729b" providerId="ADAL" clId="{45BF04A9-1534-43B6-9FE2-C4AAEAF0B80B}" dt="2022-04-19T12:20:16.300" v="244" actId="27028"/>
          <pc:sldLayoutMkLst>
            <pc:docMk/>
            <pc:sldMasterMk cId="2461492071" sldId="2147483648"/>
            <pc:sldLayoutMk cId="3619709508" sldId="2147483658"/>
          </pc:sldLayoutMkLst>
        </pc:sldLayoutChg>
      </pc:sldMasterChg>
      <pc:sldMasterChg chg="replId addSldLayout delSldLayout modSldLayout">
        <pc:chgData name="Axelsson Jenny" userId="35153831-a041-4e19-963c-026d50be729b" providerId="ADAL" clId="{45BF04A9-1534-43B6-9FE2-C4AAEAF0B80B}" dt="2022-04-19T12:20:16.327" v="246" actId="27028"/>
        <pc:sldMasterMkLst>
          <pc:docMk/>
          <pc:sldMasterMk cId="2358584115" sldId="2147483662"/>
        </pc:sldMasterMkLst>
        <pc:sldLayoutChg chg="add del">
          <pc:chgData name="Axelsson Jenny" userId="35153831-a041-4e19-963c-026d50be729b" providerId="ADAL" clId="{45BF04A9-1534-43B6-9FE2-C4AAEAF0B80B}" dt="2022-04-19T12:20:12.494" v="243" actId="27028"/>
          <pc:sldLayoutMkLst>
            <pc:docMk/>
            <pc:sldMasterMk cId="2358584115" sldId="2147483662"/>
            <pc:sldLayoutMk cId="4283877157" sldId="2147483662"/>
          </pc:sldLayoutMkLst>
        </pc:sldLayoutChg>
        <pc:sldLayoutChg chg="replId">
          <pc:chgData name="Axelsson Jenny" userId="35153831-a041-4e19-963c-026d50be729b" providerId="ADAL" clId="{45BF04A9-1534-43B6-9FE2-C4AAEAF0B80B}" dt="2022-04-19T12:20:16.300" v="244" actId="27028"/>
          <pc:sldLayoutMkLst>
            <pc:docMk/>
            <pc:sldMasterMk cId="2358584115" sldId="2147483662"/>
            <pc:sldLayoutMk cId="516649601" sldId="2147483663"/>
          </pc:sldLayoutMkLst>
        </pc:sldLayoutChg>
        <pc:sldLayoutChg chg="replId">
          <pc:chgData name="Axelsson Jenny" userId="35153831-a041-4e19-963c-026d50be729b" providerId="ADAL" clId="{45BF04A9-1534-43B6-9FE2-C4AAEAF0B80B}" dt="2022-04-19T12:20:16.327" v="246" actId="27028"/>
          <pc:sldLayoutMkLst>
            <pc:docMk/>
            <pc:sldMasterMk cId="2358584115" sldId="2147483662"/>
            <pc:sldLayoutMk cId="57955757" sldId="2147483664"/>
          </pc:sldLayoutMkLst>
        </pc:sldLayoutChg>
      </pc:sldMasterChg>
    </pc:docChg>
  </pc:docChgLst>
  <pc:docChgLst>
    <pc:chgData name="Axelsson Jenny" userId="35153831-a041-4e19-963c-026d50be729b" providerId="ADAL" clId="{2C08962A-E33E-4747-91E9-AEED7E2A5727}"/>
    <pc:docChg chg="undo custSel addSld delSld modSld sldOrd">
      <pc:chgData name="Axelsson Jenny" userId="35153831-a041-4e19-963c-026d50be729b" providerId="ADAL" clId="{2C08962A-E33E-4747-91E9-AEED7E2A5727}" dt="2022-01-26T15:29:26.019" v="5797" actId="20577"/>
      <pc:docMkLst>
        <pc:docMk/>
      </pc:docMkLst>
      <pc:sldChg chg="addSp modSp add mod">
        <pc:chgData name="Axelsson Jenny" userId="35153831-a041-4e19-963c-026d50be729b" providerId="ADAL" clId="{2C08962A-E33E-4747-91E9-AEED7E2A5727}" dt="2022-01-24T17:33:28.471" v="2619" actId="1076"/>
        <pc:sldMkLst>
          <pc:docMk/>
          <pc:sldMk cId="1968099606" sldId="298"/>
        </pc:sldMkLst>
        <pc:spChg chg="mod ord">
          <ac:chgData name="Axelsson Jenny" userId="35153831-a041-4e19-963c-026d50be729b" providerId="ADAL" clId="{2C08962A-E33E-4747-91E9-AEED7E2A5727}" dt="2022-01-24T17:22:33.133" v="1551" actId="166"/>
          <ac:spMkLst>
            <pc:docMk/>
            <pc:sldMk cId="1968099606" sldId="298"/>
            <ac:spMk id="4" creationId="{049E40AD-1B75-43EC-BB97-8C16FEB861FD}"/>
          </ac:spMkLst>
        </pc:spChg>
        <pc:spChg chg="add mod">
          <ac:chgData name="Axelsson Jenny" userId="35153831-a041-4e19-963c-026d50be729b" providerId="ADAL" clId="{2C08962A-E33E-4747-91E9-AEED7E2A5727}" dt="2022-01-24T17:33:19.142" v="2617" actId="14100"/>
          <ac:spMkLst>
            <pc:docMk/>
            <pc:sldMk cId="1968099606" sldId="298"/>
            <ac:spMk id="6" creationId="{C12AA6AE-CAD7-452E-805F-C934315173B5}"/>
          </ac:spMkLst>
        </pc:spChg>
        <pc:spChg chg="mod">
          <ac:chgData name="Axelsson Jenny" userId="35153831-a041-4e19-963c-026d50be729b" providerId="ADAL" clId="{2C08962A-E33E-4747-91E9-AEED7E2A5727}" dt="2022-01-24T17:33:26.278" v="2618" actId="1076"/>
          <ac:spMkLst>
            <pc:docMk/>
            <pc:sldMk cId="1968099606" sldId="298"/>
            <ac:spMk id="22" creationId="{0C5E0F35-FE4C-47BA-AC07-78122466324F}"/>
          </ac:spMkLst>
        </pc:spChg>
        <pc:spChg chg="mod">
          <ac:chgData name="Axelsson Jenny" userId="35153831-a041-4e19-963c-026d50be729b" providerId="ADAL" clId="{2C08962A-E33E-4747-91E9-AEED7E2A5727}" dt="2022-01-24T17:33:28.471" v="2619" actId="1076"/>
          <ac:spMkLst>
            <pc:docMk/>
            <pc:sldMk cId="1968099606" sldId="298"/>
            <ac:spMk id="26" creationId="{25B2AF5D-6B51-4740-821D-2F9DBF62005E}"/>
          </ac:spMkLst>
        </pc:spChg>
      </pc:sldChg>
      <pc:sldChg chg="modSp del mod">
        <pc:chgData name="Axelsson Jenny" userId="35153831-a041-4e19-963c-026d50be729b" providerId="ADAL" clId="{2C08962A-E33E-4747-91E9-AEED7E2A5727}" dt="2022-01-24T17:15:04.404" v="1445" actId="47"/>
        <pc:sldMkLst>
          <pc:docMk/>
          <pc:sldMk cId="3958321542" sldId="324"/>
        </pc:sldMkLst>
        <pc:spChg chg="mod">
          <ac:chgData name="Axelsson Jenny" userId="35153831-a041-4e19-963c-026d50be729b" providerId="ADAL" clId="{2C08962A-E33E-4747-91E9-AEED7E2A5727}" dt="2022-01-24T12:43:13.166" v="369"/>
          <ac:spMkLst>
            <pc:docMk/>
            <pc:sldMk cId="3958321542" sldId="324"/>
            <ac:spMk id="5" creationId="{B951F6A0-030F-4C27-83E0-D4EB1A55B331}"/>
          </ac:spMkLst>
        </pc:spChg>
      </pc:sldChg>
      <pc:sldChg chg="modSp mod">
        <pc:chgData name="Axelsson Jenny" userId="35153831-a041-4e19-963c-026d50be729b" providerId="ADAL" clId="{2C08962A-E33E-4747-91E9-AEED7E2A5727}" dt="2022-01-24T12:47:09.115" v="474" actId="20577"/>
        <pc:sldMkLst>
          <pc:docMk/>
          <pc:sldMk cId="3738514320" sldId="327"/>
        </pc:sldMkLst>
        <pc:spChg chg="mod">
          <ac:chgData name="Axelsson Jenny" userId="35153831-a041-4e19-963c-026d50be729b" providerId="ADAL" clId="{2C08962A-E33E-4747-91E9-AEED7E2A5727}" dt="2022-01-24T12:36:37.203" v="319" actId="1076"/>
          <ac:spMkLst>
            <pc:docMk/>
            <pc:sldMk cId="3738514320" sldId="327"/>
            <ac:spMk id="2" creationId="{0CFCCCF5-BAA9-4E4C-96B6-6829CE835F12}"/>
          </ac:spMkLst>
        </pc:spChg>
        <pc:spChg chg="mod">
          <ac:chgData name="Axelsson Jenny" userId="35153831-a041-4e19-963c-026d50be729b" providerId="ADAL" clId="{2C08962A-E33E-4747-91E9-AEED7E2A5727}" dt="2022-01-24T12:47:09.115" v="474" actId="20577"/>
          <ac:spMkLst>
            <pc:docMk/>
            <pc:sldMk cId="3738514320" sldId="327"/>
            <ac:spMk id="5" creationId="{BC5C837C-7D53-4E50-BDC1-752E6FCF03A0}"/>
          </ac:spMkLst>
        </pc:spChg>
      </pc:sldChg>
      <pc:sldChg chg="modSp mod">
        <pc:chgData name="Axelsson Jenny" userId="35153831-a041-4e19-963c-026d50be729b" providerId="ADAL" clId="{2C08962A-E33E-4747-91E9-AEED7E2A5727}" dt="2022-01-24T12:46:59.157" v="447" actId="6549"/>
        <pc:sldMkLst>
          <pc:docMk/>
          <pc:sldMk cId="4158201782" sldId="328"/>
        </pc:sldMkLst>
        <pc:spChg chg="mod">
          <ac:chgData name="Axelsson Jenny" userId="35153831-a041-4e19-963c-026d50be729b" providerId="ADAL" clId="{2C08962A-E33E-4747-91E9-AEED7E2A5727}" dt="2022-01-24T12:46:59.157" v="447" actId="6549"/>
          <ac:spMkLst>
            <pc:docMk/>
            <pc:sldMk cId="4158201782" sldId="328"/>
            <ac:spMk id="5" creationId="{BC5C837C-7D53-4E50-BDC1-752E6FCF03A0}"/>
          </ac:spMkLst>
        </pc:spChg>
      </pc:sldChg>
      <pc:sldChg chg="del">
        <pc:chgData name="Axelsson Jenny" userId="35153831-a041-4e19-963c-026d50be729b" providerId="ADAL" clId="{2C08962A-E33E-4747-91E9-AEED7E2A5727}" dt="2022-01-24T12:43:29.187" v="370" actId="47"/>
        <pc:sldMkLst>
          <pc:docMk/>
          <pc:sldMk cId="4095140548" sldId="329"/>
        </pc:sldMkLst>
      </pc:sldChg>
      <pc:sldChg chg="modSp mod">
        <pc:chgData name="Axelsson Jenny" userId="35153831-a041-4e19-963c-026d50be729b" providerId="ADAL" clId="{2C08962A-E33E-4747-91E9-AEED7E2A5727}" dt="2022-01-25T09:53:37.091" v="2820" actId="20577"/>
        <pc:sldMkLst>
          <pc:docMk/>
          <pc:sldMk cId="1360158982" sldId="330"/>
        </pc:sldMkLst>
        <pc:spChg chg="mod">
          <ac:chgData name="Axelsson Jenny" userId="35153831-a041-4e19-963c-026d50be729b" providerId="ADAL" clId="{2C08962A-E33E-4747-91E9-AEED7E2A5727}" dt="2022-01-25T09:53:37.091" v="2820" actId="20577"/>
          <ac:spMkLst>
            <pc:docMk/>
            <pc:sldMk cId="1360158982" sldId="330"/>
            <ac:spMk id="3" creationId="{1AAB8481-586E-4F1C-90EA-BDE3653B7E5D}"/>
          </ac:spMkLst>
        </pc:spChg>
      </pc:sldChg>
      <pc:sldChg chg="addSp delSp modSp mod modClrScheme chgLayout">
        <pc:chgData name="Axelsson Jenny" userId="35153831-a041-4e19-963c-026d50be729b" providerId="ADAL" clId="{2C08962A-E33E-4747-91E9-AEED7E2A5727}" dt="2022-01-26T07:45:00.959" v="3143" actId="20577"/>
        <pc:sldMkLst>
          <pc:docMk/>
          <pc:sldMk cId="3360954613" sldId="331"/>
        </pc:sldMkLst>
        <pc:spChg chg="mod ord">
          <ac:chgData name="Axelsson Jenny" userId="35153831-a041-4e19-963c-026d50be729b" providerId="ADAL" clId="{2C08962A-E33E-4747-91E9-AEED7E2A5727}" dt="2022-01-26T07:39:55.927" v="3031" actId="700"/>
          <ac:spMkLst>
            <pc:docMk/>
            <pc:sldMk cId="3360954613" sldId="331"/>
            <ac:spMk id="2" creationId="{1F77B94E-A839-40B6-9C34-9A42B529A3FF}"/>
          </ac:spMkLst>
        </pc:spChg>
        <pc:spChg chg="mod ord">
          <ac:chgData name="Axelsson Jenny" userId="35153831-a041-4e19-963c-026d50be729b" providerId="ADAL" clId="{2C08962A-E33E-4747-91E9-AEED7E2A5727}" dt="2022-01-26T07:39:55.927" v="3031" actId="700"/>
          <ac:spMkLst>
            <pc:docMk/>
            <pc:sldMk cId="3360954613" sldId="331"/>
            <ac:spMk id="4" creationId="{7225B4F0-A5E8-457B-BEB3-BFAA1E957B23}"/>
          </ac:spMkLst>
        </pc:spChg>
        <pc:spChg chg="mod ord">
          <ac:chgData name="Axelsson Jenny" userId="35153831-a041-4e19-963c-026d50be729b" providerId="ADAL" clId="{2C08962A-E33E-4747-91E9-AEED7E2A5727}" dt="2022-01-26T07:39:55.927" v="3031" actId="700"/>
          <ac:spMkLst>
            <pc:docMk/>
            <pc:sldMk cId="3360954613" sldId="331"/>
            <ac:spMk id="5" creationId="{19CAA173-FFF8-4C1A-A445-4511F72B31CF}"/>
          </ac:spMkLst>
        </pc:spChg>
        <pc:spChg chg="add mod ord">
          <ac:chgData name="Axelsson Jenny" userId="35153831-a041-4e19-963c-026d50be729b" providerId="ADAL" clId="{2C08962A-E33E-4747-91E9-AEED7E2A5727}" dt="2022-01-26T07:45:00.959" v="3143" actId="20577"/>
          <ac:spMkLst>
            <pc:docMk/>
            <pc:sldMk cId="3360954613" sldId="331"/>
            <ac:spMk id="6" creationId="{A93D5578-DE64-44DF-8C16-70B01ECF8A48}"/>
          </ac:spMkLst>
        </pc:spChg>
        <pc:spChg chg="add del mod ord">
          <ac:chgData name="Axelsson Jenny" userId="35153831-a041-4e19-963c-026d50be729b" providerId="ADAL" clId="{2C08962A-E33E-4747-91E9-AEED7E2A5727}" dt="2022-01-26T07:42:48.430" v="3040" actId="478"/>
          <ac:spMkLst>
            <pc:docMk/>
            <pc:sldMk cId="3360954613" sldId="331"/>
            <ac:spMk id="7" creationId="{87FD75B8-622D-4079-A5B1-97FA1D19836E}"/>
          </ac:spMkLst>
        </pc:spChg>
        <pc:picChg chg="del">
          <ac:chgData name="Axelsson Jenny" userId="35153831-a041-4e19-963c-026d50be729b" providerId="ADAL" clId="{2C08962A-E33E-4747-91E9-AEED7E2A5727}" dt="2022-01-25T14:58:11.747" v="2915" actId="478"/>
          <ac:picMkLst>
            <pc:docMk/>
            <pc:sldMk cId="3360954613" sldId="331"/>
            <ac:picMk id="9" creationId="{1BE745B8-CD30-4C0B-B6F2-94ACAEB7E430}"/>
          </ac:picMkLst>
        </pc:picChg>
        <pc:picChg chg="add del mod">
          <ac:chgData name="Axelsson Jenny" userId="35153831-a041-4e19-963c-026d50be729b" providerId="ADAL" clId="{2C08962A-E33E-4747-91E9-AEED7E2A5727}" dt="2022-01-26T07:43:22.742" v="3042" actId="478"/>
          <ac:picMkLst>
            <pc:docMk/>
            <pc:sldMk cId="3360954613" sldId="331"/>
            <ac:picMk id="10" creationId="{F98D8F9E-A97D-492F-9AE7-3F6EC447E3C8}"/>
          </ac:picMkLst>
        </pc:picChg>
        <pc:picChg chg="add mod">
          <ac:chgData name="Axelsson Jenny" userId="35153831-a041-4e19-963c-026d50be729b" providerId="ADAL" clId="{2C08962A-E33E-4747-91E9-AEED7E2A5727}" dt="2022-01-26T07:43:34.637" v="3047" actId="1076"/>
          <ac:picMkLst>
            <pc:docMk/>
            <pc:sldMk cId="3360954613" sldId="331"/>
            <ac:picMk id="12" creationId="{E94F5483-BB19-4147-AC6C-C268B5932EC2}"/>
          </ac:picMkLst>
        </pc:picChg>
      </pc:sldChg>
      <pc:sldChg chg="modSp add mod">
        <pc:chgData name="Axelsson Jenny" userId="35153831-a041-4e19-963c-026d50be729b" providerId="ADAL" clId="{2C08962A-E33E-4747-91E9-AEED7E2A5727}" dt="2022-01-24T12:46:52.243" v="444" actId="6549"/>
        <pc:sldMkLst>
          <pc:docMk/>
          <pc:sldMk cId="2417745813" sldId="332"/>
        </pc:sldMkLst>
        <pc:spChg chg="mod">
          <ac:chgData name="Axelsson Jenny" userId="35153831-a041-4e19-963c-026d50be729b" providerId="ADAL" clId="{2C08962A-E33E-4747-91E9-AEED7E2A5727}" dt="2022-01-24T12:46:52.243" v="444" actId="6549"/>
          <ac:spMkLst>
            <pc:docMk/>
            <pc:sldMk cId="2417745813" sldId="332"/>
            <ac:spMk id="5" creationId="{BC5C837C-7D53-4E50-BDC1-752E6FCF03A0}"/>
          </ac:spMkLst>
        </pc:spChg>
      </pc:sldChg>
      <pc:sldChg chg="modSp add mod">
        <pc:chgData name="Axelsson Jenny" userId="35153831-a041-4e19-963c-026d50be729b" providerId="ADAL" clId="{2C08962A-E33E-4747-91E9-AEED7E2A5727}" dt="2022-01-24T12:48:49.936" v="548" actId="20577"/>
        <pc:sldMkLst>
          <pc:docMk/>
          <pc:sldMk cId="3339312327" sldId="333"/>
        </pc:sldMkLst>
        <pc:spChg chg="mod">
          <ac:chgData name="Axelsson Jenny" userId="35153831-a041-4e19-963c-026d50be729b" providerId="ADAL" clId="{2C08962A-E33E-4747-91E9-AEED7E2A5727}" dt="2022-01-24T12:48:49.936" v="548" actId="20577"/>
          <ac:spMkLst>
            <pc:docMk/>
            <pc:sldMk cId="3339312327" sldId="333"/>
            <ac:spMk id="5" creationId="{BC5C837C-7D53-4E50-BDC1-752E6FCF03A0}"/>
          </ac:spMkLst>
        </pc:spChg>
      </pc:sldChg>
      <pc:sldChg chg="addSp delSp modSp add mod">
        <pc:chgData name="Axelsson Jenny" userId="35153831-a041-4e19-963c-026d50be729b" providerId="ADAL" clId="{2C08962A-E33E-4747-91E9-AEED7E2A5727}" dt="2022-01-24T17:18:28.445" v="1469"/>
        <pc:sldMkLst>
          <pc:docMk/>
          <pc:sldMk cId="3278939599" sldId="334"/>
        </pc:sldMkLst>
        <pc:spChg chg="mod">
          <ac:chgData name="Axelsson Jenny" userId="35153831-a041-4e19-963c-026d50be729b" providerId="ADAL" clId="{2C08962A-E33E-4747-91E9-AEED7E2A5727}" dt="2022-01-24T12:46:38.863" v="438" actId="6549"/>
          <ac:spMkLst>
            <pc:docMk/>
            <pc:sldMk cId="3278939599" sldId="334"/>
            <ac:spMk id="5" creationId="{BC5C837C-7D53-4E50-BDC1-752E6FCF03A0}"/>
          </ac:spMkLst>
        </pc:spChg>
        <pc:picChg chg="add del mod">
          <ac:chgData name="Axelsson Jenny" userId="35153831-a041-4e19-963c-026d50be729b" providerId="ADAL" clId="{2C08962A-E33E-4747-91E9-AEED7E2A5727}" dt="2022-01-24T17:18:28.445" v="1469"/>
          <ac:picMkLst>
            <pc:docMk/>
            <pc:sldMk cId="3278939599" sldId="334"/>
            <ac:picMk id="6" creationId="{880BD77A-4C62-450C-835F-EB8A91E71C4D}"/>
          </ac:picMkLst>
        </pc:picChg>
      </pc:sldChg>
      <pc:sldChg chg="addSp delSp modSp new del mod modClrScheme chgLayout">
        <pc:chgData name="Axelsson Jenny" userId="35153831-a041-4e19-963c-026d50be729b" providerId="ADAL" clId="{2C08962A-E33E-4747-91E9-AEED7E2A5727}" dt="2022-01-24T17:22:06.057" v="1498" actId="47"/>
        <pc:sldMkLst>
          <pc:docMk/>
          <pc:sldMk cId="1387739986" sldId="335"/>
        </pc:sldMkLst>
        <pc:spChg chg="mod ord">
          <ac:chgData name="Axelsson Jenny" userId="35153831-a041-4e19-963c-026d50be729b" providerId="ADAL" clId="{2C08962A-E33E-4747-91E9-AEED7E2A5727}" dt="2022-01-24T17:18:46.219" v="1472" actId="1076"/>
          <ac:spMkLst>
            <pc:docMk/>
            <pc:sldMk cId="1387739986" sldId="335"/>
            <ac:spMk id="2" creationId="{A707332E-CF21-402B-A7FB-D79B4F44060E}"/>
          </ac:spMkLst>
        </pc:spChg>
        <pc:spChg chg="del mod ord">
          <ac:chgData name="Axelsson Jenny" userId="35153831-a041-4e19-963c-026d50be729b" providerId="ADAL" clId="{2C08962A-E33E-4747-91E9-AEED7E2A5727}" dt="2022-01-24T17:19:18.068" v="1477" actId="478"/>
          <ac:spMkLst>
            <pc:docMk/>
            <pc:sldMk cId="1387739986" sldId="335"/>
            <ac:spMk id="3" creationId="{B538C3B1-F27C-4BEF-93E7-26526904DAB5}"/>
          </ac:spMkLst>
        </pc:spChg>
        <pc:spChg chg="del">
          <ac:chgData name="Axelsson Jenny" userId="35153831-a041-4e19-963c-026d50be729b" providerId="ADAL" clId="{2C08962A-E33E-4747-91E9-AEED7E2A5727}" dt="2022-01-24T17:15:39.187" v="1457" actId="700"/>
          <ac:spMkLst>
            <pc:docMk/>
            <pc:sldMk cId="1387739986" sldId="335"/>
            <ac:spMk id="4" creationId="{79F15ACA-DB68-47E7-B143-19CB075D0484}"/>
          </ac:spMkLst>
        </pc:spChg>
        <pc:spChg chg="mod ord">
          <ac:chgData name="Axelsson Jenny" userId="35153831-a041-4e19-963c-026d50be729b" providerId="ADAL" clId="{2C08962A-E33E-4747-91E9-AEED7E2A5727}" dt="2022-01-24T17:19:46.636" v="1483" actId="14100"/>
          <ac:spMkLst>
            <pc:docMk/>
            <pc:sldMk cId="1387739986" sldId="335"/>
            <ac:spMk id="5" creationId="{097EE46B-03E3-497F-9323-CF0C8DC859D8}"/>
          </ac:spMkLst>
        </pc:spChg>
        <pc:spChg chg="add del mod ord">
          <ac:chgData name="Axelsson Jenny" userId="35153831-a041-4e19-963c-026d50be729b" providerId="ADAL" clId="{2C08962A-E33E-4747-91E9-AEED7E2A5727}" dt="2022-01-24T17:15:52.812" v="1458" actId="700"/>
          <ac:spMkLst>
            <pc:docMk/>
            <pc:sldMk cId="1387739986" sldId="335"/>
            <ac:spMk id="6" creationId="{C962053D-3281-478F-AB03-E10ECFEEDC51}"/>
          </ac:spMkLst>
        </pc:spChg>
        <pc:spChg chg="add del mod ord">
          <ac:chgData name="Axelsson Jenny" userId="35153831-a041-4e19-963c-026d50be729b" providerId="ADAL" clId="{2C08962A-E33E-4747-91E9-AEED7E2A5727}" dt="2022-01-24T17:16:46.142" v="1462"/>
          <ac:spMkLst>
            <pc:docMk/>
            <pc:sldMk cId="1387739986" sldId="335"/>
            <ac:spMk id="7" creationId="{166B5934-F6FF-4906-B9C1-B75CECDE3599}"/>
          </ac:spMkLst>
        </pc:spChg>
        <pc:spChg chg="add del mod">
          <ac:chgData name="Axelsson Jenny" userId="35153831-a041-4e19-963c-026d50be729b" providerId="ADAL" clId="{2C08962A-E33E-4747-91E9-AEED7E2A5727}" dt="2022-01-24T17:17:52.540" v="1466" actId="931"/>
          <ac:spMkLst>
            <pc:docMk/>
            <pc:sldMk cId="1387739986" sldId="335"/>
            <ac:spMk id="10" creationId="{E2D5A8E5-29A2-4AB9-B3F4-2D213E2AFF70}"/>
          </ac:spMkLst>
        </pc:spChg>
        <pc:spChg chg="add del mod">
          <ac:chgData name="Axelsson Jenny" userId="35153831-a041-4e19-963c-026d50be729b" providerId="ADAL" clId="{2C08962A-E33E-4747-91E9-AEED7E2A5727}" dt="2022-01-24T17:18:35.652" v="1470"/>
          <ac:spMkLst>
            <pc:docMk/>
            <pc:sldMk cId="1387739986" sldId="335"/>
            <ac:spMk id="14" creationId="{561AD6FF-8DD8-4059-A1B4-DF0D6D7FED16}"/>
          </ac:spMkLst>
        </pc:spChg>
        <pc:spChg chg="add del mod">
          <ac:chgData name="Axelsson Jenny" userId="35153831-a041-4e19-963c-026d50be729b" providerId="ADAL" clId="{2C08962A-E33E-4747-91E9-AEED7E2A5727}" dt="2022-01-24T17:20:28.381" v="1489" actId="478"/>
          <ac:spMkLst>
            <pc:docMk/>
            <pc:sldMk cId="1387739986" sldId="335"/>
            <ac:spMk id="16" creationId="{5926813E-1AAE-433C-B000-8ED9AB618BD4}"/>
          </ac:spMkLst>
        </pc:spChg>
        <pc:spChg chg="add mod">
          <ac:chgData name="Axelsson Jenny" userId="35153831-a041-4e19-963c-026d50be729b" providerId="ADAL" clId="{2C08962A-E33E-4747-91E9-AEED7E2A5727}" dt="2022-01-24T17:21:02.227" v="1496" actId="14100"/>
          <ac:spMkLst>
            <pc:docMk/>
            <pc:sldMk cId="1387739986" sldId="335"/>
            <ac:spMk id="17" creationId="{44E59B06-A374-4F1B-A84D-EC0E19B9AB9C}"/>
          </ac:spMkLst>
        </pc:spChg>
        <pc:picChg chg="add del mod">
          <ac:chgData name="Axelsson Jenny" userId="35153831-a041-4e19-963c-026d50be729b" providerId="ADAL" clId="{2C08962A-E33E-4747-91E9-AEED7E2A5727}" dt="2022-01-24T17:16:51.696" v="1464" actId="478"/>
          <ac:picMkLst>
            <pc:docMk/>
            <pc:sldMk cId="1387739986" sldId="335"/>
            <ac:picMk id="8" creationId="{63EFE055-A352-4A08-AB3E-12480366B3F6}"/>
          </ac:picMkLst>
        </pc:picChg>
        <pc:picChg chg="add del mod">
          <ac:chgData name="Axelsson Jenny" userId="35153831-a041-4e19-963c-026d50be729b" providerId="ADAL" clId="{2C08962A-E33E-4747-91E9-AEED7E2A5727}" dt="2022-01-24T17:17:59.455" v="1467" actId="478"/>
          <ac:picMkLst>
            <pc:docMk/>
            <pc:sldMk cId="1387739986" sldId="335"/>
            <ac:picMk id="12" creationId="{29A4A990-B484-4FD8-8E4C-04AEA7678BDE}"/>
          </ac:picMkLst>
        </pc:picChg>
        <pc:picChg chg="add mod">
          <ac:chgData name="Axelsson Jenny" userId="35153831-a041-4e19-963c-026d50be729b" providerId="ADAL" clId="{2C08962A-E33E-4747-91E9-AEED7E2A5727}" dt="2022-01-24T17:18:35.652" v="1470"/>
          <ac:picMkLst>
            <pc:docMk/>
            <pc:sldMk cId="1387739986" sldId="335"/>
            <ac:picMk id="15" creationId="{93E2D5E7-F74B-4542-8DB2-3A50A630AA08}"/>
          </ac:picMkLst>
        </pc:picChg>
      </pc:sldChg>
      <pc:sldChg chg="modSp add mod">
        <pc:chgData name="Axelsson Jenny" userId="35153831-a041-4e19-963c-026d50be729b" providerId="ADAL" clId="{2C08962A-E33E-4747-91E9-AEED7E2A5727}" dt="2022-01-24T12:46:32.162" v="435" actId="6549"/>
        <pc:sldMkLst>
          <pc:docMk/>
          <pc:sldMk cId="2129922634" sldId="336"/>
        </pc:sldMkLst>
        <pc:spChg chg="mod">
          <ac:chgData name="Axelsson Jenny" userId="35153831-a041-4e19-963c-026d50be729b" providerId="ADAL" clId="{2C08962A-E33E-4747-91E9-AEED7E2A5727}" dt="2022-01-24T12:46:32.162" v="435" actId="6549"/>
          <ac:spMkLst>
            <pc:docMk/>
            <pc:sldMk cId="2129922634" sldId="336"/>
            <ac:spMk id="5" creationId="{BC5C837C-7D53-4E50-BDC1-752E6FCF03A0}"/>
          </ac:spMkLst>
        </pc:spChg>
      </pc:sldChg>
      <pc:sldChg chg="modSp add mod">
        <pc:chgData name="Axelsson Jenny" userId="35153831-a041-4e19-963c-026d50be729b" providerId="ADAL" clId="{2C08962A-E33E-4747-91E9-AEED7E2A5727}" dt="2022-01-24T12:46:25.992" v="432" actId="6549"/>
        <pc:sldMkLst>
          <pc:docMk/>
          <pc:sldMk cId="4068802719" sldId="337"/>
        </pc:sldMkLst>
        <pc:spChg chg="mod">
          <ac:chgData name="Axelsson Jenny" userId="35153831-a041-4e19-963c-026d50be729b" providerId="ADAL" clId="{2C08962A-E33E-4747-91E9-AEED7E2A5727}" dt="2022-01-24T12:46:25.992" v="432" actId="6549"/>
          <ac:spMkLst>
            <pc:docMk/>
            <pc:sldMk cId="4068802719" sldId="337"/>
            <ac:spMk id="5" creationId="{BC5C837C-7D53-4E50-BDC1-752E6FCF03A0}"/>
          </ac:spMkLst>
        </pc:spChg>
      </pc:sldChg>
      <pc:sldChg chg="modSp add mod">
        <pc:chgData name="Axelsson Jenny" userId="35153831-a041-4e19-963c-026d50be729b" providerId="ADAL" clId="{2C08962A-E33E-4747-91E9-AEED7E2A5727}" dt="2022-01-24T12:46:21.552" v="429" actId="6549"/>
        <pc:sldMkLst>
          <pc:docMk/>
          <pc:sldMk cId="590067402" sldId="338"/>
        </pc:sldMkLst>
        <pc:spChg chg="mod">
          <ac:chgData name="Axelsson Jenny" userId="35153831-a041-4e19-963c-026d50be729b" providerId="ADAL" clId="{2C08962A-E33E-4747-91E9-AEED7E2A5727}" dt="2022-01-24T12:46:21.552" v="429" actId="6549"/>
          <ac:spMkLst>
            <pc:docMk/>
            <pc:sldMk cId="590067402" sldId="338"/>
            <ac:spMk id="5" creationId="{BC5C837C-7D53-4E50-BDC1-752E6FCF03A0}"/>
          </ac:spMkLst>
        </pc:spChg>
      </pc:sldChg>
      <pc:sldChg chg="modSp add mod">
        <pc:chgData name="Axelsson Jenny" userId="35153831-a041-4e19-963c-026d50be729b" providerId="ADAL" clId="{2C08962A-E33E-4747-91E9-AEED7E2A5727}" dt="2022-01-24T12:46:11.872" v="426" actId="6549"/>
        <pc:sldMkLst>
          <pc:docMk/>
          <pc:sldMk cId="3663232249" sldId="339"/>
        </pc:sldMkLst>
        <pc:spChg chg="mod">
          <ac:chgData name="Axelsson Jenny" userId="35153831-a041-4e19-963c-026d50be729b" providerId="ADAL" clId="{2C08962A-E33E-4747-91E9-AEED7E2A5727}" dt="2022-01-24T12:46:11.872" v="426" actId="6549"/>
          <ac:spMkLst>
            <pc:docMk/>
            <pc:sldMk cId="3663232249" sldId="339"/>
            <ac:spMk id="5" creationId="{BC5C837C-7D53-4E50-BDC1-752E6FCF03A0}"/>
          </ac:spMkLst>
        </pc:spChg>
      </pc:sldChg>
      <pc:sldChg chg="modSp add mod ord">
        <pc:chgData name="Axelsson Jenny" userId="35153831-a041-4e19-963c-026d50be729b" providerId="ADAL" clId="{2C08962A-E33E-4747-91E9-AEED7E2A5727}" dt="2022-01-24T12:45:12.035" v="415"/>
        <pc:sldMkLst>
          <pc:docMk/>
          <pc:sldMk cId="2503514258" sldId="340"/>
        </pc:sldMkLst>
        <pc:spChg chg="mod">
          <ac:chgData name="Axelsson Jenny" userId="35153831-a041-4e19-963c-026d50be729b" providerId="ADAL" clId="{2C08962A-E33E-4747-91E9-AEED7E2A5727}" dt="2022-01-24T12:45:03.518" v="413" actId="113"/>
          <ac:spMkLst>
            <pc:docMk/>
            <pc:sldMk cId="2503514258" sldId="340"/>
            <ac:spMk id="5" creationId="{BC5C837C-7D53-4E50-BDC1-752E6FCF03A0}"/>
          </ac:spMkLst>
        </pc:spChg>
      </pc:sldChg>
      <pc:sldChg chg="modSp add mod">
        <pc:chgData name="Axelsson Jenny" userId="35153831-a041-4e19-963c-026d50be729b" providerId="ADAL" clId="{2C08962A-E33E-4747-91E9-AEED7E2A5727}" dt="2022-01-24T12:45:29.883" v="420" actId="113"/>
        <pc:sldMkLst>
          <pc:docMk/>
          <pc:sldMk cId="1349160313" sldId="341"/>
        </pc:sldMkLst>
        <pc:spChg chg="mod">
          <ac:chgData name="Axelsson Jenny" userId="35153831-a041-4e19-963c-026d50be729b" providerId="ADAL" clId="{2C08962A-E33E-4747-91E9-AEED7E2A5727}" dt="2022-01-24T12:45:29.883" v="420" actId="113"/>
          <ac:spMkLst>
            <pc:docMk/>
            <pc:sldMk cId="1349160313" sldId="341"/>
            <ac:spMk id="5" creationId="{BC5C837C-7D53-4E50-BDC1-752E6FCF03A0}"/>
          </ac:spMkLst>
        </pc:spChg>
      </pc:sldChg>
      <pc:sldChg chg="modSp add mod">
        <pc:chgData name="Axelsson Jenny" userId="35153831-a041-4e19-963c-026d50be729b" providerId="ADAL" clId="{2C08962A-E33E-4747-91E9-AEED7E2A5727}" dt="2022-01-24T12:45:51.640" v="423" actId="113"/>
        <pc:sldMkLst>
          <pc:docMk/>
          <pc:sldMk cId="650609371" sldId="342"/>
        </pc:sldMkLst>
        <pc:spChg chg="mod">
          <ac:chgData name="Axelsson Jenny" userId="35153831-a041-4e19-963c-026d50be729b" providerId="ADAL" clId="{2C08962A-E33E-4747-91E9-AEED7E2A5727}" dt="2022-01-24T12:45:51.640" v="423" actId="113"/>
          <ac:spMkLst>
            <pc:docMk/>
            <pc:sldMk cId="650609371" sldId="342"/>
            <ac:spMk id="5" creationId="{BC5C837C-7D53-4E50-BDC1-752E6FCF03A0}"/>
          </ac:spMkLst>
        </pc:spChg>
      </pc:sldChg>
      <pc:sldChg chg="modSp new mod">
        <pc:chgData name="Axelsson Jenny" userId="35153831-a041-4e19-963c-026d50be729b" providerId="ADAL" clId="{2C08962A-E33E-4747-91E9-AEED7E2A5727}" dt="2022-01-25T08:26:19.919" v="2641" actId="6549"/>
        <pc:sldMkLst>
          <pc:docMk/>
          <pc:sldMk cId="3838751692" sldId="343"/>
        </pc:sldMkLst>
        <pc:spChg chg="mod">
          <ac:chgData name="Axelsson Jenny" userId="35153831-a041-4e19-963c-026d50be729b" providerId="ADAL" clId="{2C08962A-E33E-4747-91E9-AEED7E2A5727}" dt="2022-01-24T15:55:51.185" v="584" actId="20577"/>
          <ac:spMkLst>
            <pc:docMk/>
            <pc:sldMk cId="3838751692" sldId="343"/>
            <ac:spMk id="2" creationId="{392D14D8-072D-4740-BFF9-52917163033C}"/>
          </ac:spMkLst>
        </pc:spChg>
        <pc:spChg chg="mod">
          <ac:chgData name="Axelsson Jenny" userId="35153831-a041-4e19-963c-026d50be729b" providerId="ADAL" clId="{2C08962A-E33E-4747-91E9-AEED7E2A5727}" dt="2022-01-25T08:26:19.919" v="2641" actId="6549"/>
          <ac:spMkLst>
            <pc:docMk/>
            <pc:sldMk cId="3838751692" sldId="343"/>
            <ac:spMk id="3" creationId="{891537CF-34EB-491A-AF24-CA6D31DC645D}"/>
          </ac:spMkLst>
        </pc:spChg>
      </pc:sldChg>
      <pc:sldChg chg="new del">
        <pc:chgData name="Axelsson Jenny" userId="35153831-a041-4e19-963c-026d50be729b" providerId="ADAL" clId="{2C08962A-E33E-4747-91E9-AEED7E2A5727}" dt="2022-01-24T16:20:45.882" v="1007" actId="47"/>
        <pc:sldMkLst>
          <pc:docMk/>
          <pc:sldMk cId="336137856" sldId="344"/>
        </pc:sldMkLst>
      </pc:sldChg>
      <pc:sldChg chg="modSp add del mod">
        <pc:chgData name="Axelsson Jenny" userId="35153831-a041-4e19-963c-026d50be729b" providerId="ADAL" clId="{2C08962A-E33E-4747-91E9-AEED7E2A5727}" dt="2022-01-24T16:21:07.468" v="1023" actId="47"/>
        <pc:sldMkLst>
          <pc:docMk/>
          <pc:sldMk cId="2425698957" sldId="345"/>
        </pc:sldMkLst>
        <pc:spChg chg="mod">
          <ac:chgData name="Axelsson Jenny" userId="35153831-a041-4e19-963c-026d50be729b" providerId="ADAL" clId="{2C08962A-E33E-4747-91E9-AEED7E2A5727}" dt="2022-01-24T16:21:04.255" v="1021" actId="20577"/>
          <ac:spMkLst>
            <pc:docMk/>
            <pc:sldMk cId="2425698957" sldId="345"/>
            <ac:spMk id="3" creationId="{891537CF-34EB-491A-AF24-CA6D31DC645D}"/>
          </ac:spMkLst>
        </pc:spChg>
      </pc:sldChg>
      <pc:sldChg chg="modSp add mod">
        <pc:chgData name="Axelsson Jenny" userId="35153831-a041-4e19-963c-026d50be729b" providerId="ADAL" clId="{2C08962A-E33E-4747-91E9-AEED7E2A5727}" dt="2022-01-25T08:26:26.847" v="2642"/>
        <pc:sldMkLst>
          <pc:docMk/>
          <pc:sldMk cId="2951961761" sldId="346"/>
        </pc:sldMkLst>
        <pc:spChg chg="mod">
          <ac:chgData name="Axelsson Jenny" userId="35153831-a041-4e19-963c-026d50be729b" providerId="ADAL" clId="{2C08962A-E33E-4747-91E9-AEED7E2A5727}" dt="2022-01-25T08:26:26.847" v="2642"/>
          <ac:spMkLst>
            <pc:docMk/>
            <pc:sldMk cId="2951961761" sldId="346"/>
            <ac:spMk id="3" creationId="{891537CF-34EB-491A-AF24-CA6D31DC645D}"/>
          </ac:spMkLst>
        </pc:spChg>
      </pc:sldChg>
      <pc:sldChg chg="addSp delSp modSp new del mod modClrScheme chgLayout">
        <pc:chgData name="Axelsson Jenny" userId="35153831-a041-4e19-963c-026d50be729b" providerId="ADAL" clId="{2C08962A-E33E-4747-91E9-AEED7E2A5727}" dt="2022-01-24T17:19:15.446" v="1476" actId="47"/>
        <pc:sldMkLst>
          <pc:docMk/>
          <pc:sldMk cId="2237547649" sldId="347"/>
        </pc:sldMkLst>
        <pc:spChg chg="del mod ord">
          <ac:chgData name="Axelsson Jenny" userId="35153831-a041-4e19-963c-026d50be729b" providerId="ADAL" clId="{2C08962A-E33E-4747-91E9-AEED7E2A5727}" dt="2022-01-24T17:19:09.643" v="1475" actId="700"/>
          <ac:spMkLst>
            <pc:docMk/>
            <pc:sldMk cId="2237547649" sldId="347"/>
            <ac:spMk id="2" creationId="{0DCA4A97-9424-4708-BD9E-52D2C150E1B7}"/>
          </ac:spMkLst>
        </pc:spChg>
        <pc:spChg chg="del mod ord">
          <ac:chgData name="Axelsson Jenny" userId="35153831-a041-4e19-963c-026d50be729b" providerId="ADAL" clId="{2C08962A-E33E-4747-91E9-AEED7E2A5727}" dt="2022-01-24T17:19:09.643" v="1475" actId="700"/>
          <ac:spMkLst>
            <pc:docMk/>
            <pc:sldMk cId="2237547649" sldId="347"/>
            <ac:spMk id="3" creationId="{74185E93-62B6-41C9-BA7F-7D8E0E3C656D}"/>
          </ac:spMkLst>
        </pc:spChg>
        <pc:spChg chg="del">
          <ac:chgData name="Axelsson Jenny" userId="35153831-a041-4e19-963c-026d50be729b" providerId="ADAL" clId="{2C08962A-E33E-4747-91E9-AEED7E2A5727}" dt="2022-01-24T17:19:09.643" v="1475" actId="700"/>
          <ac:spMkLst>
            <pc:docMk/>
            <pc:sldMk cId="2237547649" sldId="347"/>
            <ac:spMk id="4" creationId="{0C300B55-28E0-42D3-8B0A-06905670128C}"/>
          </ac:spMkLst>
        </pc:spChg>
        <pc:spChg chg="mod ord">
          <ac:chgData name="Axelsson Jenny" userId="35153831-a041-4e19-963c-026d50be729b" providerId="ADAL" clId="{2C08962A-E33E-4747-91E9-AEED7E2A5727}" dt="2022-01-24T17:19:09.643" v="1475" actId="700"/>
          <ac:spMkLst>
            <pc:docMk/>
            <pc:sldMk cId="2237547649" sldId="347"/>
            <ac:spMk id="5" creationId="{30905D10-DE2A-4356-AAE8-57D1F8F0FC68}"/>
          </ac:spMkLst>
        </pc:spChg>
        <pc:spChg chg="add mod ord">
          <ac:chgData name="Axelsson Jenny" userId="35153831-a041-4e19-963c-026d50be729b" providerId="ADAL" clId="{2C08962A-E33E-4747-91E9-AEED7E2A5727}" dt="2022-01-24T17:19:09.643" v="1475" actId="700"/>
          <ac:spMkLst>
            <pc:docMk/>
            <pc:sldMk cId="2237547649" sldId="347"/>
            <ac:spMk id="6" creationId="{45028847-A641-4D85-971E-465BB048377F}"/>
          </ac:spMkLst>
        </pc:spChg>
        <pc:spChg chg="add mod ord">
          <ac:chgData name="Axelsson Jenny" userId="35153831-a041-4e19-963c-026d50be729b" providerId="ADAL" clId="{2C08962A-E33E-4747-91E9-AEED7E2A5727}" dt="2022-01-24T17:19:09.643" v="1475" actId="700"/>
          <ac:spMkLst>
            <pc:docMk/>
            <pc:sldMk cId="2237547649" sldId="347"/>
            <ac:spMk id="7" creationId="{2ED48448-4DBC-41A5-938E-94EAC9A92443}"/>
          </ac:spMkLst>
        </pc:spChg>
        <pc:spChg chg="add mod ord">
          <ac:chgData name="Axelsson Jenny" userId="35153831-a041-4e19-963c-026d50be729b" providerId="ADAL" clId="{2C08962A-E33E-4747-91E9-AEED7E2A5727}" dt="2022-01-24T17:19:09.643" v="1475" actId="700"/>
          <ac:spMkLst>
            <pc:docMk/>
            <pc:sldMk cId="2237547649" sldId="347"/>
            <ac:spMk id="8" creationId="{B25360CE-1A4B-4F42-A5EF-C9927596AF7B}"/>
          </ac:spMkLst>
        </pc:spChg>
      </pc:sldChg>
      <pc:sldChg chg="modSp new del mod">
        <pc:chgData name="Axelsson Jenny" userId="35153831-a041-4e19-963c-026d50be729b" providerId="ADAL" clId="{2C08962A-E33E-4747-91E9-AEED7E2A5727}" dt="2022-01-24T17:15:02.514" v="1444" actId="47"/>
        <pc:sldMkLst>
          <pc:docMk/>
          <pc:sldMk cId="2269129680" sldId="347"/>
        </pc:sldMkLst>
        <pc:spChg chg="mod">
          <ac:chgData name="Axelsson Jenny" userId="35153831-a041-4e19-963c-026d50be729b" providerId="ADAL" clId="{2C08962A-E33E-4747-91E9-AEED7E2A5727}" dt="2022-01-24T16:34:13.126" v="1289"/>
          <ac:spMkLst>
            <pc:docMk/>
            <pc:sldMk cId="2269129680" sldId="347"/>
            <ac:spMk id="3" creationId="{E21FCD3B-3D64-4B22-9D0D-63FE3DF0CD7A}"/>
          </ac:spMkLst>
        </pc:spChg>
      </pc:sldChg>
      <pc:sldChg chg="addSp delSp modSp new mod modClrScheme chgLayout">
        <pc:chgData name="Axelsson Jenny" userId="35153831-a041-4e19-963c-026d50be729b" providerId="ADAL" clId="{2C08962A-E33E-4747-91E9-AEED7E2A5727}" dt="2022-01-26T15:29:26.019" v="5797" actId="20577"/>
        <pc:sldMkLst>
          <pc:docMk/>
          <pc:sldMk cId="3818659979" sldId="347"/>
        </pc:sldMkLst>
        <pc:spChg chg="del">
          <ac:chgData name="Axelsson Jenny" userId="35153831-a041-4e19-963c-026d50be729b" providerId="ADAL" clId="{2C08962A-E33E-4747-91E9-AEED7E2A5727}" dt="2022-01-24T17:24:18.138" v="1553" actId="700"/>
          <ac:spMkLst>
            <pc:docMk/>
            <pc:sldMk cId="3818659979" sldId="347"/>
            <ac:spMk id="2" creationId="{B705946C-6C8D-4332-9C39-972FF23B17A6}"/>
          </ac:spMkLst>
        </pc:spChg>
        <pc:spChg chg="del mod ord">
          <ac:chgData name="Axelsson Jenny" userId="35153831-a041-4e19-963c-026d50be729b" providerId="ADAL" clId="{2C08962A-E33E-4747-91E9-AEED7E2A5727}" dt="2022-01-24T17:24:18.138" v="1553" actId="700"/>
          <ac:spMkLst>
            <pc:docMk/>
            <pc:sldMk cId="3818659979" sldId="347"/>
            <ac:spMk id="3" creationId="{7C0DCEC7-C890-4517-8CF5-C6D05C227632}"/>
          </ac:spMkLst>
        </pc:spChg>
        <pc:spChg chg="del mod ord">
          <ac:chgData name="Axelsson Jenny" userId="35153831-a041-4e19-963c-026d50be729b" providerId="ADAL" clId="{2C08962A-E33E-4747-91E9-AEED7E2A5727}" dt="2022-01-24T17:24:18.138" v="1553" actId="700"/>
          <ac:spMkLst>
            <pc:docMk/>
            <pc:sldMk cId="3818659979" sldId="347"/>
            <ac:spMk id="4" creationId="{19E998A4-2A41-4B48-A703-72460AE97C0C}"/>
          </ac:spMkLst>
        </pc:spChg>
        <pc:spChg chg="add mod ord">
          <ac:chgData name="Axelsson Jenny" userId="35153831-a041-4e19-963c-026d50be729b" providerId="ADAL" clId="{2C08962A-E33E-4747-91E9-AEED7E2A5727}" dt="2022-01-24T17:24:26.005" v="1597" actId="20577"/>
          <ac:spMkLst>
            <pc:docMk/>
            <pc:sldMk cId="3818659979" sldId="347"/>
            <ac:spMk id="5" creationId="{9B91EC0F-805F-453C-BD43-69F0A0742CE7}"/>
          </ac:spMkLst>
        </pc:spChg>
        <pc:spChg chg="add mod ord">
          <ac:chgData name="Axelsson Jenny" userId="35153831-a041-4e19-963c-026d50be729b" providerId="ADAL" clId="{2C08962A-E33E-4747-91E9-AEED7E2A5727}" dt="2022-01-26T15:29:26.019" v="5797" actId="20577"/>
          <ac:spMkLst>
            <pc:docMk/>
            <pc:sldMk cId="3818659979" sldId="347"/>
            <ac:spMk id="6" creationId="{B4FAE321-14A7-4FFD-A9C9-C69A29F5EA2E}"/>
          </ac:spMkLst>
        </pc:spChg>
      </pc:sldChg>
      <pc:sldChg chg="modSp new mod ord">
        <pc:chgData name="Axelsson Jenny" userId="35153831-a041-4e19-963c-026d50be729b" providerId="ADAL" clId="{2C08962A-E33E-4747-91E9-AEED7E2A5727}" dt="2022-01-26T15:26:35.841" v="5781"/>
        <pc:sldMkLst>
          <pc:docMk/>
          <pc:sldMk cId="2737267205" sldId="348"/>
        </pc:sldMkLst>
        <pc:spChg chg="mod">
          <ac:chgData name="Axelsson Jenny" userId="35153831-a041-4e19-963c-026d50be729b" providerId="ADAL" clId="{2C08962A-E33E-4747-91E9-AEED7E2A5727}" dt="2022-01-25T08:22:42.306" v="2636" actId="20577"/>
          <ac:spMkLst>
            <pc:docMk/>
            <pc:sldMk cId="2737267205" sldId="348"/>
            <ac:spMk id="2" creationId="{92E5C2EF-EA45-476B-9055-979DE19E424C}"/>
          </ac:spMkLst>
        </pc:spChg>
        <pc:spChg chg="mod">
          <ac:chgData name="Axelsson Jenny" userId="35153831-a041-4e19-963c-026d50be729b" providerId="ADAL" clId="{2C08962A-E33E-4747-91E9-AEED7E2A5727}" dt="2022-01-25T08:50:39.656" v="2654" actId="1076"/>
          <ac:spMkLst>
            <pc:docMk/>
            <pc:sldMk cId="2737267205" sldId="348"/>
            <ac:spMk id="3" creationId="{27600533-1174-4BB1-85D2-3BC01FD9E533}"/>
          </ac:spMkLst>
        </pc:spChg>
      </pc:sldChg>
      <pc:sldChg chg="addSp modSp new mod">
        <pc:chgData name="Axelsson Jenny" userId="35153831-a041-4e19-963c-026d50be729b" providerId="ADAL" clId="{2C08962A-E33E-4747-91E9-AEED7E2A5727}" dt="2022-01-26T15:12:18.146" v="4676" actId="20577"/>
        <pc:sldMkLst>
          <pc:docMk/>
          <pc:sldMk cId="3801574537" sldId="349"/>
        </pc:sldMkLst>
        <pc:spChg chg="mod">
          <ac:chgData name="Axelsson Jenny" userId="35153831-a041-4e19-963c-026d50be729b" providerId="ADAL" clId="{2C08962A-E33E-4747-91E9-AEED7E2A5727}" dt="2022-01-25T14:48:59.876" v="2877" actId="20577"/>
          <ac:spMkLst>
            <pc:docMk/>
            <pc:sldMk cId="3801574537" sldId="349"/>
            <ac:spMk id="2" creationId="{98493538-1949-49A0-BCFF-14A4D5034B50}"/>
          </ac:spMkLst>
        </pc:spChg>
        <pc:spChg chg="mod">
          <ac:chgData name="Axelsson Jenny" userId="35153831-a041-4e19-963c-026d50be729b" providerId="ADAL" clId="{2C08962A-E33E-4747-91E9-AEED7E2A5727}" dt="2022-01-26T15:12:18.146" v="4676" actId="20577"/>
          <ac:spMkLst>
            <pc:docMk/>
            <pc:sldMk cId="3801574537" sldId="349"/>
            <ac:spMk id="3" creationId="{BCA2BE70-7A26-48D1-ADF2-9FD9DC39B38E}"/>
          </ac:spMkLst>
        </pc:spChg>
        <pc:picChg chg="add mod">
          <ac:chgData name="Axelsson Jenny" userId="35153831-a041-4e19-963c-026d50be729b" providerId="ADAL" clId="{2C08962A-E33E-4747-91E9-AEED7E2A5727}" dt="2022-01-26T09:29:49.353" v="3157" actId="1076"/>
          <ac:picMkLst>
            <pc:docMk/>
            <pc:sldMk cId="3801574537" sldId="349"/>
            <ac:picMk id="7" creationId="{4CA38C1E-BA95-4547-A8A9-7C0C836408F0}"/>
          </ac:picMkLst>
        </pc:picChg>
      </pc:sldChg>
      <pc:sldChg chg="modSp new mod">
        <pc:chgData name="Axelsson Jenny" userId="35153831-a041-4e19-963c-026d50be729b" providerId="ADAL" clId="{2C08962A-E33E-4747-91E9-AEED7E2A5727}" dt="2022-01-26T15:15:55.773" v="4868" actId="20577"/>
        <pc:sldMkLst>
          <pc:docMk/>
          <pc:sldMk cId="1287501561" sldId="350"/>
        </pc:sldMkLst>
        <pc:spChg chg="mod">
          <ac:chgData name="Axelsson Jenny" userId="35153831-a041-4e19-963c-026d50be729b" providerId="ADAL" clId="{2C08962A-E33E-4747-91E9-AEED7E2A5727}" dt="2022-01-26T09:53:29.604" v="3160"/>
          <ac:spMkLst>
            <pc:docMk/>
            <pc:sldMk cId="1287501561" sldId="350"/>
            <ac:spMk id="2" creationId="{153BCFF2-AD28-46E8-909A-81CC3596A74D}"/>
          </ac:spMkLst>
        </pc:spChg>
        <pc:spChg chg="mod">
          <ac:chgData name="Axelsson Jenny" userId="35153831-a041-4e19-963c-026d50be729b" providerId="ADAL" clId="{2C08962A-E33E-4747-91E9-AEED7E2A5727}" dt="2022-01-26T15:15:55.773" v="4868" actId="20577"/>
          <ac:spMkLst>
            <pc:docMk/>
            <pc:sldMk cId="1287501561" sldId="350"/>
            <ac:spMk id="3" creationId="{81FABEE2-D3D3-4FC1-A4AD-5357E54D6AF6}"/>
          </ac:spMkLst>
        </pc:spChg>
      </pc:sldChg>
      <pc:sldChg chg="addSp delSp modSp new mod modClrScheme chgLayout">
        <pc:chgData name="Axelsson Jenny" userId="35153831-a041-4e19-963c-026d50be729b" providerId="ADAL" clId="{2C08962A-E33E-4747-91E9-AEED7E2A5727}" dt="2022-01-26T15:22:41.570" v="5779" actId="6549"/>
        <pc:sldMkLst>
          <pc:docMk/>
          <pc:sldMk cId="2992425971" sldId="351"/>
        </pc:sldMkLst>
        <pc:spChg chg="mod ord">
          <ac:chgData name="Axelsson Jenny" userId="35153831-a041-4e19-963c-026d50be729b" providerId="ADAL" clId="{2C08962A-E33E-4747-91E9-AEED7E2A5727}" dt="2022-01-26T11:13:30.060" v="4138" actId="700"/>
          <ac:spMkLst>
            <pc:docMk/>
            <pc:sldMk cId="2992425971" sldId="351"/>
            <ac:spMk id="2" creationId="{F87C77FD-A2B0-457F-B379-3A11809FB292}"/>
          </ac:spMkLst>
        </pc:spChg>
        <pc:spChg chg="mod ord">
          <ac:chgData name="Axelsson Jenny" userId="35153831-a041-4e19-963c-026d50be729b" providerId="ADAL" clId="{2C08962A-E33E-4747-91E9-AEED7E2A5727}" dt="2022-01-26T15:22:41.570" v="5779" actId="6549"/>
          <ac:spMkLst>
            <pc:docMk/>
            <pc:sldMk cId="2992425971" sldId="351"/>
            <ac:spMk id="3" creationId="{17E89B72-432E-45FE-A25F-850D59A2F12A}"/>
          </ac:spMkLst>
        </pc:spChg>
        <pc:spChg chg="mod ord">
          <ac:chgData name="Axelsson Jenny" userId="35153831-a041-4e19-963c-026d50be729b" providerId="ADAL" clId="{2C08962A-E33E-4747-91E9-AEED7E2A5727}" dt="2022-01-26T11:13:30.060" v="4138" actId="700"/>
          <ac:spMkLst>
            <pc:docMk/>
            <pc:sldMk cId="2992425971" sldId="351"/>
            <ac:spMk id="4" creationId="{A3FDF4D2-6B12-4040-BEBA-F63261ED43CB}"/>
          </ac:spMkLst>
        </pc:spChg>
        <pc:spChg chg="mod ord">
          <ac:chgData name="Axelsson Jenny" userId="35153831-a041-4e19-963c-026d50be729b" providerId="ADAL" clId="{2C08962A-E33E-4747-91E9-AEED7E2A5727}" dt="2022-01-26T11:13:30.060" v="4138" actId="700"/>
          <ac:spMkLst>
            <pc:docMk/>
            <pc:sldMk cId="2992425971" sldId="351"/>
            <ac:spMk id="5" creationId="{A79B7621-7245-4C21-A4DB-F344DB94EFA2}"/>
          </ac:spMkLst>
        </pc:spChg>
        <pc:spChg chg="add del mod ord">
          <ac:chgData name="Axelsson Jenny" userId="35153831-a041-4e19-963c-026d50be729b" providerId="ADAL" clId="{2C08962A-E33E-4747-91E9-AEED7E2A5727}" dt="2022-01-26T11:13:30.060" v="4138" actId="700"/>
          <ac:spMkLst>
            <pc:docMk/>
            <pc:sldMk cId="2992425971" sldId="351"/>
            <ac:spMk id="6" creationId="{61CC69B9-9E6F-49B0-B178-17B6DC9A97F8}"/>
          </ac:spMkLst>
        </pc:spChg>
        <pc:spChg chg="add del mod ord">
          <ac:chgData name="Axelsson Jenny" userId="35153831-a041-4e19-963c-026d50be729b" providerId="ADAL" clId="{2C08962A-E33E-4747-91E9-AEED7E2A5727}" dt="2022-01-26T11:14:32.345" v="4139" actId="931"/>
          <ac:spMkLst>
            <pc:docMk/>
            <pc:sldMk cId="2992425971" sldId="351"/>
            <ac:spMk id="7" creationId="{EF79E3C5-6B5C-4711-BF08-DAEDDACF4E6A}"/>
          </ac:spMkLst>
        </pc:spChg>
        <pc:picChg chg="add mod">
          <ac:chgData name="Axelsson Jenny" userId="35153831-a041-4e19-963c-026d50be729b" providerId="ADAL" clId="{2C08962A-E33E-4747-91E9-AEED7E2A5727}" dt="2022-01-26T11:14:46.335" v="4143" actId="1076"/>
          <ac:picMkLst>
            <pc:docMk/>
            <pc:sldMk cId="2992425971" sldId="351"/>
            <ac:picMk id="9" creationId="{AC252E89-654B-473D-89B9-F1990D1CF919}"/>
          </ac:picMkLst>
        </pc:picChg>
      </pc:sldChg>
      <pc:sldChg chg="modSp new mod">
        <pc:chgData name="Axelsson Jenny" userId="35153831-a041-4e19-963c-026d50be729b" providerId="ADAL" clId="{2C08962A-E33E-4747-91E9-AEED7E2A5727}" dt="2022-01-26T15:21:24.106" v="5775" actId="20577"/>
        <pc:sldMkLst>
          <pc:docMk/>
          <pc:sldMk cId="2584752395" sldId="352"/>
        </pc:sldMkLst>
        <pc:spChg chg="mod">
          <ac:chgData name="Axelsson Jenny" userId="35153831-a041-4e19-963c-026d50be729b" providerId="ADAL" clId="{2C08962A-E33E-4747-91E9-AEED7E2A5727}" dt="2022-01-26T15:18:48.367" v="5458" actId="1076"/>
          <ac:spMkLst>
            <pc:docMk/>
            <pc:sldMk cId="2584752395" sldId="352"/>
            <ac:spMk id="2" creationId="{CB1BB783-B51E-4E21-84D0-638C6FAB0D72}"/>
          </ac:spMkLst>
        </pc:spChg>
        <pc:spChg chg="mod">
          <ac:chgData name="Axelsson Jenny" userId="35153831-a041-4e19-963c-026d50be729b" providerId="ADAL" clId="{2C08962A-E33E-4747-91E9-AEED7E2A5727}" dt="2022-01-26T15:21:24.106" v="5775" actId="20577"/>
          <ac:spMkLst>
            <pc:docMk/>
            <pc:sldMk cId="2584752395" sldId="352"/>
            <ac:spMk id="3" creationId="{C8F2940F-8A88-41C7-AF73-B16C3A9CFD24}"/>
          </ac:spMkLst>
        </pc:spChg>
      </pc:sldChg>
    </pc:docChg>
  </pc:docChgLst>
  <pc:docChgLst>
    <pc:chgData name="Axelsson Jenny" userId="35153831-a041-4e19-963c-026d50be729b" providerId="ADAL" clId="{7AA9F7BB-82C3-474B-A8FD-5995DFFA5BA7}"/>
    <pc:docChg chg="addSld delSld modSld">
      <pc:chgData name="Axelsson Jenny" userId="35153831-a041-4e19-963c-026d50be729b" providerId="ADAL" clId="{7AA9F7BB-82C3-474B-A8FD-5995DFFA5BA7}" dt="2021-01-25T15:43:36.307" v="36" actId="113"/>
      <pc:docMkLst>
        <pc:docMk/>
      </pc:docMkLst>
      <pc:sldChg chg="modSp mod">
        <pc:chgData name="Axelsson Jenny" userId="35153831-a041-4e19-963c-026d50be729b" providerId="ADAL" clId="{7AA9F7BB-82C3-474B-A8FD-5995DFFA5BA7}" dt="2021-01-25T15:42:53.447" v="19" actId="6549"/>
        <pc:sldMkLst>
          <pc:docMk/>
          <pc:sldMk cId="1351546238" sldId="267"/>
        </pc:sldMkLst>
        <pc:spChg chg="mod">
          <ac:chgData name="Axelsson Jenny" userId="35153831-a041-4e19-963c-026d50be729b" providerId="ADAL" clId="{7AA9F7BB-82C3-474B-A8FD-5995DFFA5BA7}" dt="2021-01-25T15:42:53.447" v="19" actId="6549"/>
          <ac:spMkLst>
            <pc:docMk/>
            <pc:sldMk cId="1351546238" sldId="267"/>
            <ac:spMk id="5" creationId="{E66C5368-8331-464F-8C50-5BB97655E8A7}"/>
          </ac:spMkLst>
        </pc:spChg>
      </pc:sldChg>
      <pc:sldChg chg="modSp mod">
        <pc:chgData name="Axelsson Jenny" userId="35153831-a041-4e19-963c-026d50be729b" providerId="ADAL" clId="{7AA9F7BB-82C3-474B-A8FD-5995DFFA5BA7}" dt="2021-01-25T15:43:25.875" v="31" actId="113"/>
        <pc:sldMkLst>
          <pc:docMk/>
          <pc:sldMk cId="2850266236" sldId="300"/>
        </pc:sldMkLst>
        <pc:spChg chg="mod">
          <ac:chgData name="Axelsson Jenny" userId="35153831-a041-4e19-963c-026d50be729b" providerId="ADAL" clId="{7AA9F7BB-82C3-474B-A8FD-5995DFFA5BA7}" dt="2021-01-25T15:43:25.875" v="31" actId="113"/>
          <ac:spMkLst>
            <pc:docMk/>
            <pc:sldMk cId="2850266236" sldId="300"/>
            <ac:spMk id="5" creationId="{E66C5368-8331-464F-8C50-5BB97655E8A7}"/>
          </ac:spMkLst>
        </pc:spChg>
      </pc:sldChg>
      <pc:sldChg chg="modSp mod">
        <pc:chgData name="Axelsson Jenny" userId="35153831-a041-4e19-963c-026d50be729b" providerId="ADAL" clId="{7AA9F7BB-82C3-474B-A8FD-5995DFFA5BA7}" dt="2021-01-25T15:43:15.018" v="30" actId="6549"/>
        <pc:sldMkLst>
          <pc:docMk/>
          <pc:sldMk cId="4158479537" sldId="320"/>
        </pc:sldMkLst>
        <pc:spChg chg="mod">
          <ac:chgData name="Axelsson Jenny" userId="35153831-a041-4e19-963c-026d50be729b" providerId="ADAL" clId="{7AA9F7BB-82C3-474B-A8FD-5995DFFA5BA7}" dt="2021-01-25T15:43:15.018" v="30" actId="6549"/>
          <ac:spMkLst>
            <pc:docMk/>
            <pc:sldMk cId="4158479537" sldId="320"/>
            <ac:spMk id="5" creationId="{E66C5368-8331-464F-8C50-5BB97655E8A7}"/>
          </ac:spMkLst>
        </pc:spChg>
      </pc:sldChg>
      <pc:sldChg chg="new del">
        <pc:chgData name="Axelsson Jenny" userId="35153831-a041-4e19-963c-026d50be729b" providerId="ADAL" clId="{7AA9F7BB-82C3-474B-A8FD-5995DFFA5BA7}" dt="2021-01-25T15:43:31.869" v="34" actId="47"/>
        <pc:sldMkLst>
          <pc:docMk/>
          <pc:sldMk cId="926732441" sldId="321"/>
        </pc:sldMkLst>
      </pc:sldChg>
      <pc:sldChg chg="del">
        <pc:chgData name="Axelsson Jenny" userId="35153831-a041-4e19-963c-026d50be729b" providerId="ADAL" clId="{7AA9F7BB-82C3-474B-A8FD-5995DFFA5BA7}" dt="2021-01-25T15:43:05.383" v="22" actId="47"/>
        <pc:sldMkLst>
          <pc:docMk/>
          <pc:sldMk cId="3363680989" sldId="321"/>
        </pc:sldMkLst>
      </pc:sldChg>
      <pc:sldChg chg="del">
        <pc:chgData name="Axelsson Jenny" userId="35153831-a041-4e19-963c-026d50be729b" providerId="ADAL" clId="{7AA9F7BB-82C3-474B-A8FD-5995DFFA5BA7}" dt="2021-01-25T15:43:06.421" v="24" actId="47"/>
        <pc:sldMkLst>
          <pc:docMk/>
          <pc:sldMk cId="1517455842" sldId="322"/>
        </pc:sldMkLst>
      </pc:sldChg>
      <pc:sldChg chg="modSp add mod">
        <pc:chgData name="Axelsson Jenny" userId="35153831-a041-4e19-963c-026d50be729b" providerId="ADAL" clId="{7AA9F7BB-82C3-474B-A8FD-5995DFFA5BA7}" dt="2021-01-25T15:43:36.307" v="36" actId="113"/>
        <pc:sldMkLst>
          <pc:docMk/>
          <pc:sldMk cId="3939740925" sldId="322"/>
        </pc:sldMkLst>
        <pc:spChg chg="mod">
          <ac:chgData name="Axelsson Jenny" userId="35153831-a041-4e19-963c-026d50be729b" providerId="ADAL" clId="{7AA9F7BB-82C3-474B-A8FD-5995DFFA5BA7}" dt="2021-01-25T15:43:36.307" v="36" actId="113"/>
          <ac:spMkLst>
            <pc:docMk/>
            <pc:sldMk cId="3939740925" sldId="322"/>
            <ac:spMk id="5" creationId="{E66C5368-8331-464F-8C50-5BB97655E8A7}"/>
          </ac:spMkLst>
        </pc:spChg>
      </pc:sldChg>
      <pc:sldChg chg="del">
        <pc:chgData name="Axelsson Jenny" userId="35153831-a041-4e19-963c-026d50be729b" providerId="ADAL" clId="{7AA9F7BB-82C3-474B-A8FD-5995DFFA5BA7}" dt="2021-01-25T15:43:06.965" v="25" actId="47"/>
        <pc:sldMkLst>
          <pc:docMk/>
          <pc:sldMk cId="890174566" sldId="323"/>
        </pc:sldMkLst>
      </pc:sldChg>
      <pc:sldChg chg="del">
        <pc:chgData name="Axelsson Jenny" userId="35153831-a041-4e19-963c-026d50be729b" providerId="ADAL" clId="{7AA9F7BB-82C3-474B-A8FD-5995DFFA5BA7}" dt="2021-01-25T15:43:07.561" v="26" actId="47"/>
        <pc:sldMkLst>
          <pc:docMk/>
          <pc:sldMk cId="4117068346" sldId="324"/>
        </pc:sldMkLst>
      </pc:sldChg>
      <pc:sldChg chg="del">
        <pc:chgData name="Axelsson Jenny" userId="35153831-a041-4e19-963c-026d50be729b" providerId="ADAL" clId="{7AA9F7BB-82C3-474B-A8FD-5995DFFA5BA7}" dt="2021-01-25T15:43:09.117" v="28" actId="47"/>
        <pc:sldMkLst>
          <pc:docMk/>
          <pc:sldMk cId="3697135425" sldId="325"/>
        </pc:sldMkLst>
      </pc:sldChg>
      <pc:sldChg chg="del">
        <pc:chgData name="Axelsson Jenny" userId="35153831-a041-4e19-963c-026d50be729b" providerId="ADAL" clId="{7AA9F7BB-82C3-474B-A8FD-5995DFFA5BA7}" dt="2021-01-25T15:43:05.942" v="23" actId="47"/>
        <pc:sldMkLst>
          <pc:docMk/>
          <pc:sldMk cId="2246295903" sldId="326"/>
        </pc:sldMkLst>
      </pc:sldChg>
      <pc:sldChg chg="del">
        <pc:chgData name="Axelsson Jenny" userId="35153831-a041-4e19-963c-026d50be729b" providerId="ADAL" clId="{7AA9F7BB-82C3-474B-A8FD-5995DFFA5BA7}" dt="2021-01-25T15:43:08.451" v="27" actId="47"/>
        <pc:sldMkLst>
          <pc:docMk/>
          <pc:sldMk cId="3494306671" sldId="327"/>
        </pc:sldMkLst>
      </pc:sldChg>
      <pc:sldChg chg="del">
        <pc:chgData name="Axelsson Jenny" userId="35153831-a041-4e19-963c-026d50be729b" providerId="ADAL" clId="{7AA9F7BB-82C3-474B-A8FD-5995DFFA5BA7}" dt="2021-01-25T15:43:09.971" v="29" actId="47"/>
        <pc:sldMkLst>
          <pc:docMk/>
          <pc:sldMk cId="2193998561" sldId="329"/>
        </pc:sldMkLst>
      </pc:sldChg>
    </pc:docChg>
  </pc:docChgLst>
  <pc:docChgLst>
    <pc:chgData name="Axelsson Jenny" userId="S::jenny.axelsson@inera.se::35153831-a041-4e19-963c-026d50be729b" providerId="AD" clId="Web-{F8EFC69D-BBB0-49C0-878F-F9504599173D}"/>
    <pc:docChg chg="addSld modSld sldOrd">
      <pc:chgData name="Axelsson Jenny" userId="S::jenny.axelsson@inera.se::35153831-a041-4e19-963c-026d50be729b" providerId="AD" clId="Web-{F8EFC69D-BBB0-49C0-878F-F9504599173D}" dt="2022-01-18T15:49:10.644" v="64"/>
      <pc:docMkLst>
        <pc:docMk/>
      </pc:docMkLst>
      <pc:sldChg chg="modSp">
        <pc:chgData name="Axelsson Jenny" userId="S::jenny.axelsson@inera.se::35153831-a041-4e19-963c-026d50be729b" providerId="AD" clId="Web-{F8EFC69D-BBB0-49C0-878F-F9504599173D}" dt="2022-01-18T15:48:53.972" v="63" actId="20577"/>
        <pc:sldMkLst>
          <pc:docMk/>
          <pc:sldMk cId="3738514320" sldId="327"/>
        </pc:sldMkLst>
        <pc:spChg chg="mod">
          <ac:chgData name="Axelsson Jenny" userId="S::jenny.axelsson@inera.se::35153831-a041-4e19-963c-026d50be729b" providerId="AD" clId="Web-{F8EFC69D-BBB0-49C0-878F-F9504599173D}" dt="2022-01-18T15:48:53.972" v="63" actId="20577"/>
          <ac:spMkLst>
            <pc:docMk/>
            <pc:sldMk cId="3738514320" sldId="327"/>
            <ac:spMk id="5" creationId="{BC5C837C-7D53-4E50-BDC1-752E6FCF03A0}"/>
          </ac:spMkLst>
        </pc:spChg>
      </pc:sldChg>
      <pc:sldChg chg="modSp new ord">
        <pc:chgData name="Axelsson Jenny" userId="S::jenny.axelsson@inera.se::35153831-a041-4e19-963c-026d50be729b" providerId="AD" clId="Web-{F8EFC69D-BBB0-49C0-878F-F9504599173D}" dt="2022-01-18T15:49:10.644" v="64"/>
        <pc:sldMkLst>
          <pc:docMk/>
          <pc:sldMk cId="1360158982" sldId="330"/>
        </pc:sldMkLst>
        <pc:spChg chg="mod">
          <ac:chgData name="Axelsson Jenny" userId="S::jenny.axelsson@inera.se::35153831-a041-4e19-963c-026d50be729b" providerId="AD" clId="Web-{F8EFC69D-BBB0-49C0-878F-F9504599173D}" dt="2022-01-18T15:48:26.143" v="50" actId="20577"/>
          <ac:spMkLst>
            <pc:docMk/>
            <pc:sldMk cId="1360158982" sldId="330"/>
            <ac:spMk id="2" creationId="{2B58EA6C-B7A3-4B2C-84F2-E3A5F25A3EDC}"/>
          </ac:spMkLst>
        </pc:spChg>
      </pc:sldChg>
    </pc:docChg>
  </pc:docChgLst>
  <pc:docChgLst>
    <pc:chgData name="Olars Björn" userId="S::bjorn.olars@inera.se::1c81218a-21ec-413f-8dc1-a8bd0b85f8ba" providerId="AD" clId="Web-{5477EAD7-7ED3-477D-A41D-70A1E0246EE8}"/>
    <pc:docChg chg="addSld modSld sldOrd">
      <pc:chgData name="Olars Björn" userId="S::bjorn.olars@inera.se::1c81218a-21ec-413f-8dc1-a8bd0b85f8ba" providerId="AD" clId="Web-{5477EAD7-7ED3-477D-A41D-70A1E0246EE8}" dt="2022-05-19T10:02:31.860" v="130"/>
      <pc:docMkLst>
        <pc:docMk/>
      </pc:docMkLst>
      <pc:sldChg chg="addSp modSp new ord">
        <pc:chgData name="Olars Björn" userId="S::bjorn.olars@inera.se::1c81218a-21ec-413f-8dc1-a8bd0b85f8ba" providerId="AD" clId="Web-{5477EAD7-7ED3-477D-A41D-70A1E0246EE8}" dt="2022-05-19T10:02:31.860" v="130"/>
        <pc:sldMkLst>
          <pc:docMk/>
          <pc:sldMk cId="2512516227" sldId="449"/>
        </pc:sldMkLst>
        <pc:spChg chg="mod">
          <ac:chgData name="Olars Björn" userId="S::bjorn.olars@inera.se::1c81218a-21ec-413f-8dc1-a8bd0b85f8ba" providerId="AD" clId="Web-{5477EAD7-7ED3-477D-A41D-70A1E0246EE8}" dt="2022-05-19T10:02:13.454" v="129" actId="20577"/>
          <ac:spMkLst>
            <pc:docMk/>
            <pc:sldMk cId="2512516227" sldId="449"/>
            <ac:spMk id="2" creationId="{B98F9B8F-6C9B-EB05-7404-573F7AF85200}"/>
          </ac:spMkLst>
        </pc:spChg>
        <pc:spChg chg="mod">
          <ac:chgData name="Olars Björn" userId="S::bjorn.olars@inera.se::1c81218a-21ec-413f-8dc1-a8bd0b85f8ba" providerId="AD" clId="Web-{5477EAD7-7ED3-477D-A41D-70A1E0246EE8}" dt="2022-05-19T10:01:36.171" v="82" actId="20577"/>
          <ac:spMkLst>
            <pc:docMk/>
            <pc:sldMk cId="2512516227" sldId="449"/>
            <ac:spMk id="3" creationId="{9E10EE92-06FA-42D7-1E5F-EA2D2697115D}"/>
          </ac:spMkLst>
        </pc:spChg>
        <pc:picChg chg="add mod">
          <ac:chgData name="Olars Björn" userId="S::bjorn.olars@inera.se::1c81218a-21ec-413f-8dc1-a8bd0b85f8ba" providerId="AD" clId="Web-{5477EAD7-7ED3-477D-A41D-70A1E0246EE8}" dt="2022-05-19T10:02:31.860" v="130"/>
          <ac:picMkLst>
            <pc:docMk/>
            <pc:sldMk cId="2512516227" sldId="449"/>
            <ac:picMk id="6" creationId="{047DE29D-C8D2-8E95-6166-7B54DF07FAC4}"/>
          </ac:picMkLst>
        </pc:picChg>
      </pc:sldChg>
    </pc:docChg>
  </pc:docChgLst>
  <pc:docChgLst>
    <pc:chgData name="Olars Björn" userId="S::bjorn.olars@inera.se::1c81218a-21ec-413f-8dc1-a8bd0b85f8ba" providerId="AD" clId="Web-{E032F7B9-D634-8916-038A-CB3549918151}"/>
    <pc:docChg chg="addSld modSld">
      <pc:chgData name="Olars Björn" userId="S::bjorn.olars@inera.se::1c81218a-21ec-413f-8dc1-a8bd0b85f8ba" providerId="AD" clId="Web-{E032F7B9-D634-8916-038A-CB3549918151}" dt="2022-05-20T09:17:35.601" v="1340" actId="20577"/>
      <pc:docMkLst>
        <pc:docMk/>
      </pc:docMkLst>
      <pc:sldChg chg="modSp">
        <pc:chgData name="Olars Björn" userId="S::bjorn.olars@inera.se::1c81218a-21ec-413f-8dc1-a8bd0b85f8ba" providerId="AD" clId="Web-{E032F7B9-D634-8916-038A-CB3549918151}" dt="2022-05-20T09:10:15.526" v="589" actId="20577"/>
        <pc:sldMkLst>
          <pc:docMk/>
          <pc:sldMk cId="2512516227" sldId="449"/>
        </pc:sldMkLst>
        <pc:spChg chg="mod">
          <ac:chgData name="Olars Björn" userId="S::bjorn.olars@inera.se::1c81218a-21ec-413f-8dc1-a8bd0b85f8ba" providerId="AD" clId="Web-{E032F7B9-D634-8916-038A-CB3549918151}" dt="2022-05-20T09:10:15.526" v="589" actId="20577"/>
          <ac:spMkLst>
            <pc:docMk/>
            <pc:sldMk cId="2512516227" sldId="449"/>
            <ac:spMk id="3" creationId="{9E10EE92-06FA-42D7-1E5F-EA2D2697115D}"/>
          </ac:spMkLst>
        </pc:spChg>
        <pc:picChg chg="mod">
          <ac:chgData name="Olars Björn" userId="S::bjorn.olars@inera.se::1c81218a-21ec-413f-8dc1-a8bd0b85f8ba" providerId="AD" clId="Web-{E032F7B9-D634-8916-038A-CB3549918151}" dt="2022-05-20T09:03:08.483" v="82" actId="14100"/>
          <ac:picMkLst>
            <pc:docMk/>
            <pc:sldMk cId="2512516227" sldId="449"/>
            <ac:picMk id="6" creationId="{047DE29D-C8D2-8E95-6166-7B54DF07FAC4}"/>
          </ac:picMkLst>
        </pc:picChg>
      </pc:sldChg>
      <pc:sldChg chg="modSp">
        <pc:chgData name="Olars Björn" userId="S::bjorn.olars@inera.se::1c81218a-21ec-413f-8dc1-a8bd0b85f8ba" providerId="AD" clId="Web-{E032F7B9-D634-8916-038A-CB3549918151}" dt="2022-05-20T09:09:24.884" v="510" actId="20577"/>
        <pc:sldMkLst>
          <pc:docMk/>
          <pc:sldMk cId="3047865759" sldId="450"/>
        </pc:sldMkLst>
        <pc:spChg chg="mod">
          <ac:chgData name="Olars Björn" userId="S::bjorn.olars@inera.se::1c81218a-21ec-413f-8dc1-a8bd0b85f8ba" providerId="AD" clId="Web-{E032F7B9-D634-8916-038A-CB3549918151}" dt="2022-05-20T09:09:24.884" v="510" actId="20577"/>
          <ac:spMkLst>
            <pc:docMk/>
            <pc:sldMk cId="3047865759" sldId="450"/>
            <ac:spMk id="7" creationId="{E889AAA5-0C45-E36F-F355-3F12C78158B4}"/>
          </ac:spMkLst>
        </pc:spChg>
      </pc:sldChg>
      <pc:sldChg chg="addSp delSp modSp add mod replId modClrScheme chgLayout">
        <pc:chgData name="Olars Björn" userId="S::bjorn.olars@inera.se::1c81218a-21ec-413f-8dc1-a8bd0b85f8ba" providerId="AD" clId="Web-{E032F7B9-D634-8916-038A-CB3549918151}" dt="2022-05-20T09:17:35.601" v="1340" actId="20577"/>
        <pc:sldMkLst>
          <pc:docMk/>
          <pc:sldMk cId="1002276837" sldId="453"/>
        </pc:sldMkLst>
        <pc:spChg chg="add mod ord">
          <ac:chgData name="Olars Björn" userId="S::bjorn.olars@inera.se::1c81218a-21ec-413f-8dc1-a8bd0b85f8ba" providerId="AD" clId="Web-{E032F7B9-D634-8916-038A-CB3549918151}" dt="2022-05-20T09:11:06.872" v="619" actId="20577"/>
          <ac:spMkLst>
            <pc:docMk/>
            <pc:sldMk cId="1002276837" sldId="453"/>
            <ac:spMk id="3" creationId="{48872DD3-D506-9C63-7E93-B287F7FC797C}"/>
          </ac:spMkLst>
        </pc:spChg>
        <pc:spChg chg="mod ord">
          <ac:chgData name="Olars Björn" userId="S::bjorn.olars@inera.se::1c81218a-21ec-413f-8dc1-a8bd0b85f8ba" providerId="AD" clId="Web-{E032F7B9-D634-8916-038A-CB3549918151}" dt="2022-05-20T09:10:50.496" v="596"/>
          <ac:spMkLst>
            <pc:docMk/>
            <pc:sldMk cId="1002276837" sldId="453"/>
            <ac:spMk id="4" creationId="{B2C21426-4145-4481-9FF9-4589124127A9}"/>
          </ac:spMkLst>
        </pc:spChg>
        <pc:spChg chg="mod ord">
          <ac:chgData name="Olars Björn" userId="S::bjorn.olars@inera.se::1c81218a-21ec-413f-8dc1-a8bd0b85f8ba" providerId="AD" clId="Web-{E032F7B9-D634-8916-038A-CB3549918151}" dt="2022-05-20T09:10:50.496" v="596"/>
          <ac:spMkLst>
            <pc:docMk/>
            <pc:sldMk cId="1002276837" sldId="453"/>
            <ac:spMk id="5" creationId="{82C3D724-AFE2-435C-B1CE-D997227B3AA4}"/>
          </ac:spMkLst>
        </pc:spChg>
        <pc:spChg chg="del">
          <ac:chgData name="Olars Björn" userId="S::bjorn.olars@inera.se::1c81218a-21ec-413f-8dc1-a8bd0b85f8ba" providerId="AD" clId="Web-{E032F7B9-D634-8916-038A-CB3549918151}" dt="2022-05-20T09:10:32.543" v="592"/>
          <ac:spMkLst>
            <pc:docMk/>
            <pc:sldMk cId="1002276837" sldId="453"/>
            <ac:spMk id="6" creationId="{DA535E35-64C2-45C2-BC4B-6B2A9713ADB8}"/>
          </ac:spMkLst>
        </pc:spChg>
        <pc:spChg chg="del mod">
          <ac:chgData name="Olars Björn" userId="S::bjorn.olars@inera.se::1c81218a-21ec-413f-8dc1-a8bd0b85f8ba" providerId="AD" clId="Web-{E032F7B9-D634-8916-038A-CB3549918151}" dt="2022-05-20T09:10:35.543" v="595"/>
          <ac:spMkLst>
            <pc:docMk/>
            <pc:sldMk cId="1002276837" sldId="453"/>
            <ac:spMk id="7" creationId="{E889AAA5-0C45-E36F-F355-3F12C78158B4}"/>
          </ac:spMkLst>
        </pc:spChg>
        <pc:spChg chg="add mod ord">
          <ac:chgData name="Olars Björn" userId="S::bjorn.olars@inera.se::1c81218a-21ec-413f-8dc1-a8bd0b85f8ba" providerId="AD" clId="Web-{E032F7B9-D634-8916-038A-CB3549918151}" dt="2022-05-20T09:17:35.601" v="1340" actId="20577"/>
          <ac:spMkLst>
            <pc:docMk/>
            <pc:sldMk cId="1002276837" sldId="453"/>
            <ac:spMk id="8" creationId="{07ED2BBF-5AE0-76BE-F5A4-9697E2D9C4EE}"/>
          </ac:spMkLst>
        </pc:spChg>
        <pc:spChg chg="del">
          <ac:chgData name="Olars Björn" userId="S::bjorn.olars@inera.se::1c81218a-21ec-413f-8dc1-a8bd0b85f8ba" providerId="AD" clId="Web-{E032F7B9-D634-8916-038A-CB3549918151}" dt="2022-05-20T09:10:31.683" v="591"/>
          <ac:spMkLst>
            <pc:docMk/>
            <pc:sldMk cId="1002276837" sldId="453"/>
            <ac:spMk id="287" creationId="{50469693-808F-44AD-A7E8-CB69A68013AC}"/>
          </ac:spMkLst>
        </pc:spChg>
        <pc:picChg chg="del">
          <ac:chgData name="Olars Björn" userId="S::bjorn.olars@inera.se::1c81218a-21ec-413f-8dc1-a8bd0b85f8ba" providerId="AD" clId="Web-{E032F7B9-D634-8916-038A-CB3549918151}" dt="2022-05-20T09:10:34.433" v="594"/>
          <ac:picMkLst>
            <pc:docMk/>
            <pc:sldMk cId="1002276837" sldId="453"/>
            <ac:picMk id="2" creationId="{0CE7C0AE-C8B4-43BB-4F0A-218CA1895B66}"/>
          </ac:picMkLst>
        </pc:picChg>
      </pc:sldChg>
    </pc:docChg>
  </pc:docChgLst>
  <pc:docChgLst>
    <pc:chgData name="Axelsson Jenny" userId="35153831-a041-4e19-963c-026d50be729b" providerId="ADAL" clId="{8DFA554F-58B5-4B51-9624-F20EA301321D}"/>
    <pc:docChg chg="modSld">
      <pc:chgData name="Axelsson Jenny" userId="35153831-a041-4e19-963c-026d50be729b" providerId="ADAL" clId="{8DFA554F-58B5-4B51-9624-F20EA301321D}" dt="2022-05-20T11:39:20.017" v="1" actId="20577"/>
      <pc:docMkLst>
        <pc:docMk/>
      </pc:docMkLst>
      <pc:sldChg chg="modSp mod">
        <pc:chgData name="Axelsson Jenny" userId="35153831-a041-4e19-963c-026d50be729b" providerId="ADAL" clId="{8DFA554F-58B5-4B51-9624-F20EA301321D}" dt="2022-05-20T11:39:20.017" v="1" actId="20577"/>
        <pc:sldMkLst>
          <pc:docMk/>
          <pc:sldMk cId="4028061350" sldId="402"/>
        </pc:sldMkLst>
        <pc:spChg chg="mod">
          <ac:chgData name="Axelsson Jenny" userId="35153831-a041-4e19-963c-026d50be729b" providerId="ADAL" clId="{8DFA554F-58B5-4B51-9624-F20EA301321D}" dt="2022-05-20T11:39:20.017" v="1" actId="20577"/>
          <ac:spMkLst>
            <pc:docMk/>
            <pc:sldMk cId="4028061350" sldId="402"/>
            <ac:spMk id="3" creationId="{CC922992-F35B-44AF-BF66-E7539CE62FE9}"/>
          </ac:spMkLst>
        </pc:spChg>
      </pc:sldChg>
    </pc:docChg>
  </pc:docChgLst>
  <pc:docChgLst>
    <pc:chgData name="Axelsson Jenny" userId="S::jenny.axelsson@inera.se::35153831-a041-4e19-963c-026d50be729b" providerId="AD" clId="Web-{A710C45A-7896-49BB-AF4B-49E57CE106E9}"/>
    <pc:docChg chg="modSld">
      <pc:chgData name="Axelsson Jenny" userId="S::jenny.axelsson@inera.se::35153831-a041-4e19-963c-026d50be729b" providerId="AD" clId="Web-{A710C45A-7896-49BB-AF4B-49E57CE106E9}" dt="2022-01-27T13:33:35.227" v="11" actId="1076"/>
      <pc:docMkLst>
        <pc:docMk/>
      </pc:docMkLst>
      <pc:sldChg chg="modSp">
        <pc:chgData name="Axelsson Jenny" userId="S::jenny.axelsson@inera.se::35153831-a041-4e19-963c-026d50be729b" providerId="AD" clId="Web-{A710C45A-7896-49BB-AF4B-49E57CE106E9}" dt="2022-01-27T13:33:35.227" v="11" actId="1076"/>
        <pc:sldMkLst>
          <pc:docMk/>
          <pc:sldMk cId="3360954613" sldId="331"/>
        </pc:sldMkLst>
        <pc:picChg chg="mod">
          <ac:chgData name="Axelsson Jenny" userId="S::jenny.axelsson@inera.se::35153831-a041-4e19-963c-026d50be729b" providerId="AD" clId="Web-{A710C45A-7896-49BB-AF4B-49E57CE106E9}" dt="2022-01-27T13:33:35.227" v="11" actId="1076"/>
          <ac:picMkLst>
            <pc:docMk/>
            <pc:sldMk cId="3360954613" sldId="331"/>
            <ac:picMk id="12" creationId="{E94F5483-BB19-4147-AC6C-C268B5932EC2}"/>
          </ac:picMkLst>
        </pc:picChg>
      </pc:sldChg>
      <pc:sldChg chg="modSp">
        <pc:chgData name="Axelsson Jenny" userId="S::jenny.axelsson@inera.se::35153831-a041-4e19-963c-026d50be729b" providerId="AD" clId="Web-{A710C45A-7896-49BB-AF4B-49E57CE106E9}" dt="2022-01-27T13:15:37.752" v="2" actId="20577"/>
        <pc:sldMkLst>
          <pc:docMk/>
          <pc:sldMk cId="3838751692" sldId="343"/>
        </pc:sldMkLst>
        <pc:spChg chg="mod">
          <ac:chgData name="Axelsson Jenny" userId="S::jenny.axelsson@inera.se::35153831-a041-4e19-963c-026d50be729b" providerId="AD" clId="Web-{A710C45A-7896-49BB-AF4B-49E57CE106E9}" dt="2022-01-27T13:15:37.752" v="2" actId="20577"/>
          <ac:spMkLst>
            <pc:docMk/>
            <pc:sldMk cId="3838751692" sldId="343"/>
            <ac:spMk id="3" creationId="{891537CF-34EB-491A-AF24-CA6D31DC645D}"/>
          </ac:spMkLst>
        </pc:spChg>
      </pc:sldChg>
      <pc:sldChg chg="modSp">
        <pc:chgData name="Axelsson Jenny" userId="S::jenny.axelsson@inera.se::35153831-a041-4e19-963c-026d50be729b" providerId="AD" clId="Web-{A710C45A-7896-49BB-AF4B-49E57CE106E9}" dt="2022-01-27T13:28:36.474" v="10" actId="20577"/>
        <pc:sldMkLst>
          <pc:docMk/>
          <pc:sldMk cId="1287501561" sldId="350"/>
        </pc:sldMkLst>
        <pc:spChg chg="mod">
          <ac:chgData name="Axelsson Jenny" userId="S::jenny.axelsson@inera.se::35153831-a041-4e19-963c-026d50be729b" providerId="AD" clId="Web-{A710C45A-7896-49BB-AF4B-49E57CE106E9}" dt="2022-01-27T13:28:36.474" v="10" actId="20577"/>
          <ac:spMkLst>
            <pc:docMk/>
            <pc:sldMk cId="1287501561" sldId="350"/>
            <ac:spMk id="3" creationId="{81FABEE2-D3D3-4FC1-A4AD-5357E54D6AF6}"/>
          </ac:spMkLst>
        </pc:spChg>
      </pc:sldChg>
      <pc:sldChg chg="modSp">
        <pc:chgData name="Axelsson Jenny" userId="S::jenny.axelsson@inera.se::35153831-a041-4e19-963c-026d50be729b" providerId="AD" clId="Web-{A710C45A-7896-49BB-AF4B-49E57CE106E9}" dt="2022-01-27T13:26:37.497" v="8" actId="20577"/>
        <pc:sldMkLst>
          <pc:docMk/>
          <pc:sldMk cId="2584752395" sldId="352"/>
        </pc:sldMkLst>
        <pc:spChg chg="mod">
          <ac:chgData name="Axelsson Jenny" userId="S::jenny.axelsson@inera.se::35153831-a041-4e19-963c-026d50be729b" providerId="AD" clId="Web-{A710C45A-7896-49BB-AF4B-49E57CE106E9}" dt="2022-01-27T13:26:37.497" v="8" actId="20577"/>
          <ac:spMkLst>
            <pc:docMk/>
            <pc:sldMk cId="2584752395" sldId="352"/>
            <ac:spMk id="3" creationId="{C8F2940F-8A88-41C7-AF73-B16C3A9CFD24}"/>
          </ac:spMkLst>
        </pc:spChg>
      </pc:sldChg>
      <pc:sldChg chg="modSp">
        <pc:chgData name="Axelsson Jenny" userId="S::jenny.axelsson@inera.se::35153831-a041-4e19-963c-026d50be729b" providerId="AD" clId="Web-{A710C45A-7896-49BB-AF4B-49E57CE106E9}" dt="2022-01-27T13:21:02.679" v="4" actId="20577"/>
        <pc:sldMkLst>
          <pc:docMk/>
          <pc:sldMk cId="1852366786" sldId="356"/>
        </pc:sldMkLst>
        <pc:spChg chg="mod">
          <ac:chgData name="Axelsson Jenny" userId="S::jenny.axelsson@inera.se::35153831-a041-4e19-963c-026d50be729b" providerId="AD" clId="Web-{A710C45A-7896-49BB-AF4B-49E57CE106E9}" dt="2022-01-27T13:21:02.679" v="4" actId="20577"/>
          <ac:spMkLst>
            <pc:docMk/>
            <pc:sldMk cId="1852366786" sldId="356"/>
            <ac:spMk id="3" creationId="{6C1B4C16-DD8B-4F29-BBCD-BE86B33D401F}"/>
          </ac:spMkLst>
        </pc:spChg>
      </pc:sldChg>
    </pc:docChg>
  </pc:docChgLst>
  <pc:docChgLst>
    <pc:chgData name="Jonsson Åsa" userId="S::asa.jonsson@inera.se::e7c157ac-c4f4-446a-aea7-2d9507f60b0e" providerId="AD" clId="Web-{8D36885D-1145-4450-9B9C-9FDFB8183FEC}"/>
    <pc:docChg chg="addSld modSld">
      <pc:chgData name="Jonsson Åsa" userId="S::asa.jonsson@inera.se::e7c157ac-c4f4-446a-aea7-2d9507f60b0e" providerId="AD" clId="Web-{8D36885D-1145-4450-9B9C-9FDFB8183FEC}" dt="2022-01-26T12:22:54.217" v="198" actId="20577"/>
      <pc:docMkLst>
        <pc:docMk/>
      </pc:docMkLst>
      <pc:sldChg chg="modSp new">
        <pc:chgData name="Jonsson Åsa" userId="S::asa.jonsson@inera.se::e7c157ac-c4f4-446a-aea7-2d9507f60b0e" providerId="AD" clId="Web-{8D36885D-1145-4450-9B9C-9FDFB8183FEC}" dt="2022-01-26T12:22:54.217" v="198" actId="20577"/>
        <pc:sldMkLst>
          <pc:docMk/>
          <pc:sldMk cId="1079766907" sldId="353"/>
        </pc:sldMkLst>
        <pc:spChg chg="mod">
          <ac:chgData name="Jonsson Åsa" userId="S::asa.jonsson@inera.se::e7c157ac-c4f4-446a-aea7-2d9507f60b0e" providerId="AD" clId="Web-{8D36885D-1145-4450-9B9C-9FDFB8183FEC}" dt="2022-01-26T12:20:29.151" v="31" actId="20577"/>
          <ac:spMkLst>
            <pc:docMk/>
            <pc:sldMk cId="1079766907" sldId="353"/>
            <ac:spMk id="2" creationId="{EB6CA5B0-6D2F-4383-B3E8-886F5B731907}"/>
          </ac:spMkLst>
        </pc:spChg>
        <pc:spChg chg="mod">
          <ac:chgData name="Jonsson Åsa" userId="S::asa.jonsson@inera.se::e7c157ac-c4f4-446a-aea7-2d9507f60b0e" providerId="AD" clId="Web-{8D36885D-1145-4450-9B9C-9FDFB8183FEC}" dt="2022-01-26T12:22:54.217" v="198" actId="20577"/>
          <ac:spMkLst>
            <pc:docMk/>
            <pc:sldMk cId="1079766907" sldId="353"/>
            <ac:spMk id="3" creationId="{6C1B4C16-DD8B-4F29-BBCD-BE86B33D401F}"/>
          </ac:spMkLst>
        </pc:spChg>
      </pc:sldChg>
    </pc:docChg>
  </pc:docChgLst>
  <pc:docChgLst>
    <pc:chgData name="Axelsson Jenny" userId="S::jenny.axelsson@inera.se::35153831-a041-4e19-963c-026d50be729b" providerId="AD" clId="Web-{C8E5DAB2-1138-4076-87A5-52E2E10F9BCC}"/>
    <pc:docChg chg="addSld delSld modSld sldOrd">
      <pc:chgData name="Axelsson Jenny" userId="S::jenny.axelsson@inera.se::35153831-a041-4e19-963c-026d50be729b" providerId="AD" clId="Web-{C8E5DAB2-1138-4076-87A5-52E2E10F9BCC}" dt="2022-01-18T15:31:24.804" v="260" actId="20577"/>
      <pc:docMkLst>
        <pc:docMk/>
      </pc:docMkLst>
      <pc:sldChg chg="modSp">
        <pc:chgData name="Axelsson Jenny" userId="S::jenny.axelsson@inera.se::35153831-a041-4e19-963c-026d50be729b" providerId="AD" clId="Web-{C8E5DAB2-1138-4076-87A5-52E2E10F9BCC}" dt="2022-01-18T15:15:27.499" v="70" actId="20577"/>
        <pc:sldMkLst>
          <pc:docMk/>
          <pc:sldMk cId="1036871477" sldId="264"/>
        </pc:sldMkLst>
        <pc:spChg chg="mod">
          <ac:chgData name="Axelsson Jenny" userId="S::jenny.axelsson@inera.se::35153831-a041-4e19-963c-026d50be729b" providerId="AD" clId="Web-{C8E5DAB2-1138-4076-87A5-52E2E10F9BCC}" dt="2022-01-18T15:15:27.499" v="70" actId="20577"/>
          <ac:spMkLst>
            <pc:docMk/>
            <pc:sldMk cId="1036871477" sldId="264"/>
            <ac:spMk id="3" creationId="{3E215758-AD04-4783-8B7A-EA30D128D138}"/>
          </ac:spMkLst>
        </pc:spChg>
      </pc:sldChg>
      <pc:sldChg chg="modSp">
        <pc:chgData name="Axelsson Jenny" userId="S::jenny.axelsson@inera.se::35153831-a041-4e19-963c-026d50be729b" providerId="AD" clId="Web-{C8E5DAB2-1138-4076-87A5-52E2E10F9BCC}" dt="2022-01-18T15:19:40.943" v="102" actId="20577"/>
        <pc:sldMkLst>
          <pc:docMk/>
          <pc:sldMk cId="1351546238" sldId="267"/>
        </pc:sldMkLst>
        <pc:spChg chg="mod">
          <ac:chgData name="Axelsson Jenny" userId="S::jenny.axelsson@inera.se::35153831-a041-4e19-963c-026d50be729b" providerId="AD" clId="Web-{C8E5DAB2-1138-4076-87A5-52E2E10F9BCC}" dt="2022-01-18T15:19:40.943" v="102" actId="20577"/>
          <ac:spMkLst>
            <pc:docMk/>
            <pc:sldMk cId="1351546238" sldId="267"/>
            <ac:spMk id="5" creationId="{E66C5368-8331-464F-8C50-5BB97655E8A7}"/>
          </ac:spMkLst>
        </pc:spChg>
      </pc:sldChg>
      <pc:sldChg chg="modSp">
        <pc:chgData name="Axelsson Jenny" userId="S::jenny.axelsson@inera.se::35153831-a041-4e19-963c-026d50be729b" providerId="AD" clId="Web-{C8E5DAB2-1138-4076-87A5-52E2E10F9BCC}" dt="2022-01-18T15:09:52.881" v="2" actId="20577"/>
        <pc:sldMkLst>
          <pc:docMk/>
          <pc:sldMk cId="2974578957" sldId="312"/>
        </pc:sldMkLst>
        <pc:spChg chg="mod">
          <ac:chgData name="Axelsson Jenny" userId="S::jenny.axelsson@inera.se::35153831-a041-4e19-963c-026d50be729b" providerId="AD" clId="Web-{C8E5DAB2-1138-4076-87A5-52E2E10F9BCC}" dt="2022-01-18T15:09:52.881" v="2" actId="20577"/>
          <ac:spMkLst>
            <pc:docMk/>
            <pc:sldMk cId="2974578957" sldId="312"/>
            <ac:spMk id="4" creationId="{7C3A8192-81A1-4B54-8CE2-055E1C43C19C}"/>
          </ac:spMkLst>
        </pc:spChg>
      </pc:sldChg>
      <pc:sldChg chg="modSp del">
        <pc:chgData name="Axelsson Jenny" userId="S::jenny.axelsson@inera.se::35153831-a041-4e19-963c-026d50be729b" providerId="AD" clId="Web-{C8E5DAB2-1138-4076-87A5-52E2E10F9BCC}" dt="2022-01-18T15:30:17.662" v="234"/>
        <pc:sldMkLst>
          <pc:docMk/>
          <pc:sldMk cId="4158479537" sldId="320"/>
        </pc:sldMkLst>
        <pc:spChg chg="mod">
          <ac:chgData name="Axelsson Jenny" userId="S::jenny.axelsson@inera.se::35153831-a041-4e19-963c-026d50be729b" providerId="AD" clId="Web-{C8E5DAB2-1138-4076-87A5-52E2E10F9BCC}" dt="2022-01-18T15:22:13.384" v="178" actId="20577"/>
          <ac:spMkLst>
            <pc:docMk/>
            <pc:sldMk cId="4158479537" sldId="320"/>
            <ac:spMk id="5" creationId="{E66C5368-8331-464F-8C50-5BB97655E8A7}"/>
          </ac:spMkLst>
        </pc:spChg>
      </pc:sldChg>
      <pc:sldChg chg="modSp del">
        <pc:chgData name="Axelsson Jenny" userId="S::jenny.axelsson@inera.se::35153831-a041-4e19-963c-026d50be729b" providerId="AD" clId="Web-{C8E5DAB2-1138-4076-87A5-52E2E10F9BCC}" dt="2022-01-18T15:31:13.148" v="257"/>
        <pc:sldMkLst>
          <pc:docMk/>
          <pc:sldMk cId="1025984966" sldId="322"/>
        </pc:sldMkLst>
        <pc:spChg chg="mod">
          <ac:chgData name="Axelsson Jenny" userId="S::jenny.axelsson@inera.se::35153831-a041-4e19-963c-026d50be729b" providerId="AD" clId="Web-{C8E5DAB2-1138-4076-87A5-52E2E10F9BCC}" dt="2022-01-18T15:31:07.288" v="255" actId="1076"/>
          <ac:spMkLst>
            <pc:docMk/>
            <pc:sldMk cId="1025984966" sldId="322"/>
            <ac:spMk id="5" creationId="{E66C5368-8331-464F-8C50-5BB97655E8A7}"/>
          </ac:spMkLst>
        </pc:spChg>
      </pc:sldChg>
      <pc:sldChg chg="modSp add replId">
        <pc:chgData name="Axelsson Jenny" userId="S::jenny.axelsson@inera.se::35153831-a041-4e19-963c-026d50be729b" providerId="AD" clId="Web-{C8E5DAB2-1138-4076-87A5-52E2E10F9BCC}" dt="2022-01-18T15:30:53.382" v="254" actId="20577"/>
        <pc:sldMkLst>
          <pc:docMk/>
          <pc:sldMk cId="1890798318" sldId="323"/>
        </pc:sldMkLst>
        <pc:spChg chg="mod">
          <ac:chgData name="Axelsson Jenny" userId="S::jenny.axelsson@inera.se::35153831-a041-4e19-963c-026d50be729b" providerId="AD" clId="Web-{C8E5DAB2-1138-4076-87A5-52E2E10F9BCC}" dt="2022-01-18T15:30:49.835" v="251" actId="20577"/>
          <ac:spMkLst>
            <pc:docMk/>
            <pc:sldMk cId="1890798318" sldId="323"/>
            <ac:spMk id="2" creationId="{28142FAB-2177-42C2-83A7-B8FCD6F5DAB5}"/>
          </ac:spMkLst>
        </pc:spChg>
        <pc:spChg chg="mod">
          <ac:chgData name="Axelsson Jenny" userId="S::jenny.axelsson@inera.se::35153831-a041-4e19-963c-026d50be729b" providerId="AD" clId="Web-{C8E5DAB2-1138-4076-87A5-52E2E10F9BCC}" dt="2022-01-18T15:30:53.382" v="254" actId="20577"/>
          <ac:spMkLst>
            <pc:docMk/>
            <pc:sldMk cId="1890798318" sldId="323"/>
            <ac:spMk id="5" creationId="{E66C5368-8331-464F-8C50-5BB97655E8A7}"/>
          </ac:spMkLst>
        </pc:spChg>
      </pc:sldChg>
      <pc:sldChg chg="addSp modSp new mod modClrScheme chgLayout">
        <pc:chgData name="Axelsson Jenny" userId="S::jenny.axelsson@inera.se::35153831-a041-4e19-963c-026d50be729b" providerId="AD" clId="Web-{C8E5DAB2-1138-4076-87A5-52E2E10F9BCC}" dt="2022-01-18T15:30:33.522" v="246" actId="20577"/>
        <pc:sldMkLst>
          <pc:docMk/>
          <pc:sldMk cId="3958321542" sldId="324"/>
        </pc:sldMkLst>
        <pc:spChg chg="mod ord">
          <ac:chgData name="Axelsson Jenny" userId="S::jenny.axelsson@inera.se::35153831-a041-4e19-963c-026d50be729b" providerId="AD" clId="Web-{C8E5DAB2-1138-4076-87A5-52E2E10F9BCC}" dt="2022-01-18T15:17:52.862" v="86" actId="20577"/>
          <ac:spMkLst>
            <pc:docMk/>
            <pc:sldMk cId="3958321542" sldId="324"/>
            <ac:spMk id="2" creationId="{7B6E1B41-4986-4B31-AE28-DBDBB0A3E6A4}"/>
          </ac:spMkLst>
        </pc:spChg>
        <pc:spChg chg="mod ord">
          <ac:chgData name="Axelsson Jenny" userId="S::jenny.axelsson@inera.se::35153831-a041-4e19-963c-026d50be729b" providerId="AD" clId="Web-{C8E5DAB2-1138-4076-87A5-52E2E10F9BCC}" dt="2022-01-18T15:17:46.127" v="83"/>
          <ac:spMkLst>
            <pc:docMk/>
            <pc:sldMk cId="3958321542" sldId="324"/>
            <ac:spMk id="3" creationId="{0ABFC80A-F01B-43C9-8ED4-5AFBC290C596}"/>
          </ac:spMkLst>
        </pc:spChg>
        <pc:spChg chg="mod ord">
          <ac:chgData name="Axelsson Jenny" userId="S::jenny.axelsson@inera.se::35153831-a041-4e19-963c-026d50be729b" providerId="AD" clId="Web-{C8E5DAB2-1138-4076-87A5-52E2E10F9BCC}" dt="2022-01-18T15:17:46.127" v="83"/>
          <ac:spMkLst>
            <pc:docMk/>
            <pc:sldMk cId="3958321542" sldId="324"/>
            <ac:spMk id="4" creationId="{47A07DD5-6A54-497E-9259-85BD1F3EBA5B}"/>
          </ac:spMkLst>
        </pc:spChg>
        <pc:spChg chg="add mod ord">
          <ac:chgData name="Axelsson Jenny" userId="S::jenny.axelsson@inera.se::35153831-a041-4e19-963c-026d50be729b" providerId="AD" clId="Web-{C8E5DAB2-1138-4076-87A5-52E2E10F9BCC}" dt="2022-01-18T15:30:33.522" v="246" actId="20577"/>
          <ac:spMkLst>
            <pc:docMk/>
            <pc:sldMk cId="3958321542" sldId="324"/>
            <ac:spMk id="5" creationId="{B951F6A0-030F-4C27-83E0-D4EB1A55B331}"/>
          </ac:spMkLst>
        </pc:spChg>
        <pc:spChg chg="add mod ord">
          <ac:chgData name="Axelsson Jenny" userId="S::jenny.axelsson@inera.se::35153831-a041-4e19-963c-026d50be729b" providerId="AD" clId="Web-{C8E5DAB2-1138-4076-87A5-52E2E10F9BCC}" dt="2022-01-18T15:17:46.127" v="83"/>
          <ac:spMkLst>
            <pc:docMk/>
            <pc:sldMk cId="3958321542" sldId="324"/>
            <ac:spMk id="6" creationId="{F36829D7-4057-44BD-ADB0-22CA427D94A6}"/>
          </ac:spMkLst>
        </pc:spChg>
      </pc:sldChg>
      <pc:sldChg chg="addSp delSp modSp new mod modClrScheme chgLayout">
        <pc:chgData name="Axelsson Jenny" userId="S::jenny.axelsson@inera.se::35153831-a041-4e19-963c-026d50be729b" providerId="AD" clId="Web-{C8E5DAB2-1138-4076-87A5-52E2E10F9BCC}" dt="2022-01-18T15:30:09.756" v="233" actId="20577"/>
        <pc:sldMkLst>
          <pc:docMk/>
          <pc:sldMk cId="1447821777" sldId="325"/>
        </pc:sldMkLst>
        <pc:spChg chg="mod ord">
          <ac:chgData name="Axelsson Jenny" userId="S::jenny.axelsson@inera.se::35153831-a041-4e19-963c-026d50be729b" providerId="AD" clId="Web-{C8E5DAB2-1138-4076-87A5-52E2E10F9BCC}" dt="2022-01-18T15:28:41.753" v="207" actId="20577"/>
          <ac:spMkLst>
            <pc:docMk/>
            <pc:sldMk cId="1447821777" sldId="325"/>
            <ac:spMk id="2" creationId="{A2C237A8-A6C5-4C14-B5D7-27C0D7FD3507}"/>
          </ac:spMkLst>
        </pc:spChg>
        <pc:spChg chg="del">
          <ac:chgData name="Axelsson Jenny" userId="S::jenny.axelsson@inera.se::35153831-a041-4e19-963c-026d50be729b" providerId="AD" clId="Web-{C8E5DAB2-1138-4076-87A5-52E2E10F9BCC}" dt="2022-01-18T15:28:18.721" v="180"/>
          <ac:spMkLst>
            <pc:docMk/>
            <pc:sldMk cId="1447821777" sldId="325"/>
            <ac:spMk id="3" creationId="{A410E73C-744B-47D3-BDFF-B0DB3E8934AF}"/>
          </ac:spMkLst>
        </pc:spChg>
        <pc:spChg chg="mod ord">
          <ac:chgData name="Axelsson Jenny" userId="S::jenny.axelsson@inera.se::35153831-a041-4e19-963c-026d50be729b" providerId="AD" clId="Web-{C8E5DAB2-1138-4076-87A5-52E2E10F9BCC}" dt="2022-01-18T15:28:25.956" v="181"/>
          <ac:spMkLst>
            <pc:docMk/>
            <pc:sldMk cId="1447821777" sldId="325"/>
            <ac:spMk id="4" creationId="{F3CBE164-EC9D-4A6F-892B-7DF580E2ED64}"/>
          </ac:spMkLst>
        </pc:spChg>
        <pc:spChg chg="add mod ord">
          <ac:chgData name="Axelsson Jenny" userId="S::jenny.axelsson@inera.se::35153831-a041-4e19-963c-026d50be729b" providerId="AD" clId="Web-{C8E5DAB2-1138-4076-87A5-52E2E10F9BCC}" dt="2022-01-18T15:30:09.756" v="233" actId="20577"/>
          <ac:spMkLst>
            <pc:docMk/>
            <pc:sldMk cId="1447821777" sldId="325"/>
            <ac:spMk id="5" creationId="{7A5A2983-59C6-497D-9789-9232EF9391ED}"/>
          </ac:spMkLst>
        </pc:spChg>
      </pc:sldChg>
      <pc:sldChg chg="modSp add ord replId">
        <pc:chgData name="Axelsson Jenny" userId="S::jenny.axelsson@inera.se::35153831-a041-4e19-963c-026d50be729b" providerId="AD" clId="Web-{C8E5DAB2-1138-4076-87A5-52E2E10F9BCC}" dt="2022-01-18T15:31:24.804" v="260" actId="20577"/>
        <pc:sldMkLst>
          <pc:docMk/>
          <pc:sldMk cId="2032816693" sldId="326"/>
        </pc:sldMkLst>
        <pc:spChg chg="mod">
          <ac:chgData name="Axelsson Jenny" userId="S::jenny.axelsson@inera.se::35153831-a041-4e19-963c-026d50be729b" providerId="AD" clId="Web-{C8E5DAB2-1138-4076-87A5-52E2E10F9BCC}" dt="2022-01-18T15:31:24.804" v="260" actId="20577"/>
          <ac:spMkLst>
            <pc:docMk/>
            <pc:sldMk cId="2032816693" sldId="326"/>
            <ac:spMk id="5" creationId="{E66C5368-8331-464F-8C50-5BB97655E8A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Patienter/NKI%20SOB%202021,%20patienter,%20arbbok.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Behandlare/Arbbok%20NKI%20-%20SOB%202022%20behandlare.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Behandlare/Arbbok%20NKI%20-%20SOB%202022%20behandlare.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Behandlare/Arbbok%20NKI%20-%20SOB%202022%20behandlare.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Patienter/NKI%20SOB%202021,%20patienter,%20arbbok.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Patienter/NKI%20SOB%202021,%20patienter,%20arbbok.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Patienter/NKI%20SOB%202021,%20patienter,%20arbbok.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Patienter/NKI%20SOB%202021,%20patienter,%20arbbok.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Behandlare/Arbbok%20NKI%20-%20SOB%202022%20behandlare.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Behandlare/Arbbok%20NKI%20-%20SOB%202022%20behandlare.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Behandlare/Arbbok%20NKI%20-%20SOB%202022%20behandlare.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ineraab-my.sharepoint.com/personal/andreas_leifsson_inera_se/Documents/Documents/Enk&#228;ter%20Internt%20hanterade/NKIer/2022/SOB/Behandlare/Arbbok%20NKI%20-%20SOB%202022%20behandlare.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akgrund!$C$43</c:f>
              <c:strCache>
                <c:ptCount val="1"/>
                <c:pt idx="0">
                  <c:v>Ande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akgrund!$A$44:$A$51</c:f>
              <c:strCache>
                <c:ptCount val="8"/>
                <c:pt idx="0">
                  <c:v>&lt;20 år</c:v>
                </c:pt>
                <c:pt idx="1">
                  <c:v>20-29 år</c:v>
                </c:pt>
                <c:pt idx="2">
                  <c:v>30-39 år</c:v>
                </c:pt>
                <c:pt idx="3">
                  <c:v>40-49 år</c:v>
                </c:pt>
                <c:pt idx="4">
                  <c:v>50-59 år</c:v>
                </c:pt>
                <c:pt idx="5">
                  <c:v>60-69 år</c:v>
                </c:pt>
                <c:pt idx="6">
                  <c:v>70-79 år</c:v>
                </c:pt>
                <c:pt idx="7">
                  <c:v>80 år +</c:v>
                </c:pt>
              </c:strCache>
            </c:strRef>
          </c:cat>
          <c:val>
            <c:numRef>
              <c:f>bakgrund!$C$44:$C$51</c:f>
              <c:numCache>
                <c:formatCode>0%</c:formatCode>
                <c:ptCount val="8"/>
                <c:pt idx="0">
                  <c:v>2.3580205911657257E-2</c:v>
                </c:pt>
                <c:pt idx="1">
                  <c:v>5.878445699103288E-2</c:v>
                </c:pt>
                <c:pt idx="2">
                  <c:v>0.10362005978080371</c:v>
                </c:pt>
                <c:pt idx="3">
                  <c:v>0.16472932580538027</c:v>
                </c:pt>
                <c:pt idx="4">
                  <c:v>0.22716705413483892</c:v>
                </c:pt>
                <c:pt idx="5">
                  <c:v>0.19628030554633014</c:v>
                </c:pt>
                <c:pt idx="6">
                  <c:v>0.17270009963467287</c:v>
                </c:pt>
                <c:pt idx="7">
                  <c:v>5.3138492195283958E-2</c:v>
                </c:pt>
              </c:numCache>
            </c:numRef>
          </c:val>
          <c:extLst>
            <c:ext xmlns:c16="http://schemas.microsoft.com/office/drawing/2014/chart" uri="{C3380CC4-5D6E-409C-BE32-E72D297353CC}">
              <c16:uniqueId val="{00000000-7694-470E-AE27-EF1284E12EBA}"/>
            </c:ext>
          </c:extLst>
        </c:ser>
        <c:dLbls>
          <c:showLegendKey val="0"/>
          <c:showVal val="0"/>
          <c:showCatName val="0"/>
          <c:showSerName val="0"/>
          <c:showPercent val="0"/>
          <c:showBubbleSize val="0"/>
        </c:dLbls>
        <c:gapWidth val="219"/>
        <c:overlap val="-27"/>
        <c:axId val="832316336"/>
        <c:axId val="832335056"/>
      </c:barChart>
      <c:catAx>
        <c:axId val="832316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832335056"/>
        <c:crosses val="autoZero"/>
        <c:auto val="1"/>
        <c:lblAlgn val="ctr"/>
        <c:lblOffset val="100"/>
        <c:noMultiLvlLbl val="0"/>
      </c:catAx>
      <c:valAx>
        <c:axId val="8323350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8323163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barChart>
        <c:barDir val="bar"/>
        <c:grouping val="clustered"/>
        <c:varyColors val="0"/>
        <c:ser>
          <c:idx val="0"/>
          <c:order val="0"/>
          <c:tx>
            <c:strRef>
              <c:f>'fr.9,11'!$L$23</c:f>
              <c:strCache>
                <c:ptCount val="1"/>
                <c:pt idx="0">
                  <c:v> På min arbetsplats arbetar vi aktivt med att informera patienterna om Stöd och behandlin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r.9,11'!$K$24:$K$26</c:f>
              <c:numCache>
                <c:formatCode>General</c:formatCode>
                <c:ptCount val="3"/>
                <c:pt idx="0">
                  <c:v>2022</c:v>
                </c:pt>
                <c:pt idx="1">
                  <c:v>2020</c:v>
                </c:pt>
                <c:pt idx="2">
                  <c:v>2016</c:v>
                </c:pt>
              </c:numCache>
            </c:numRef>
          </c:cat>
          <c:val>
            <c:numRef>
              <c:f>'fr.9,11'!$L$24:$L$26</c:f>
              <c:numCache>
                <c:formatCode>0%</c:formatCode>
                <c:ptCount val="3"/>
                <c:pt idx="0">
                  <c:v>0.70919060052219318</c:v>
                </c:pt>
                <c:pt idx="1">
                  <c:v>0.67005882352941171</c:v>
                </c:pt>
                <c:pt idx="2">
                  <c:v>0.6654098360655738</c:v>
                </c:pt>
              </c:numCache>
            </c:numRef>
          </c:val>
          <c:extLst>
            <c:ext xmlns:c16="http://schemas.microsoft.com/office/drawing/2014/chart" uri="{C3380CC4-5D6E-409C-BE32-E72D297353CC}">
              <c16:uniqueId val="{00000000-4812-4FA7-8BDA-E5D253B3F24F}"/>
            </c:ext>
          </c:extLst>
        </c:ser>
        <c:dLbls>
          <c:showLegendKey val="0"/>
          <c:showVal val="0"/>
          <c:showCatName val="0"/>
          <c:showSerName val="0"/>
          <c:showPercent val="0"/>
          <c:showBubbleSize val="0"/>
        </c:dLbls>
        <c:gapWidth val="182"/>
        <c:axId val="491457344"/>
        <c:axId val="491460672"/>
      </c:barChart>
      <c:catAx>
        <c:axId val="4914573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91460672"/>
        <c:crosses val="autoZero"/>
        <c:auto val="1"/>
        <c:lblAlgn val="ctr"/>
        <c:lblOffset val="100"/>
        <c:noMultiLvlLbl val="0"/>
      </c:catAx>
      <c:valAx>
        <c:axId val="491460672"/>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91457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r6-8 (NKI)'!$O$8</c:f>
              <c:strCache>
                <c:ptCount val="1"/>
                <c:pt idx="0">
                  <c:v>NK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r6-8 (NKI)'!$N$9:$N$11</c:f>
              <c:numCache>
                <c:formatCode>General</c:formatCode>
                <c:ptCount val="3"/>
                <c:pt idx="0">
                  <c:v>2022</c:v>
                </c:pt>
                <c:pt idx="1">
                  <c:v>2020</c:v>
                </c:pt>
                <c:pt idx="2">
                  <c:v>2016</c:v>
                </c:pt>
              </c:numCache>
            </c:numRef>
          </c:cat>
          <c:val>
            <c:numRef>
              <c:f>'fr6-8 (NKI)'!$O$9:$O$11</c:f>
              <c:numCache>
                <c:formatCode>0</c:formatCode>
                <c:ptCount val="3"/>
                <c:pt idx="0">
                  <c:v>63.108357240327074</c:v>
                </c:pt>
                <c:pt idx="1">
                  <c:v>56.682096677378382</c:v>
                </c:pt>
                <c:pt idx="2">
                  <c:v>69.965182884748103</c:v>
                </c:pt>
              </c:numCache>
            </c:numRef>
          </c:val>
          <c:extLst>
            <c:ext xmlns:c16="http://schemas.microsoft.com/office/drawing/2014/chart" uri="{C3380CC4-5D6E-409C-BE32-E72D297353CC}">
              <c16:uniqueId val="{00000000-6210-4778-B769-EBA901F31966}"/>
            </c:ext>
          </c:extLst>
        </c:ser>
        <c:dLbls>
          <c:showLegendKey val="0"/>
          <c:showVal val="0"/>
          <c:showCatName val="0"/>
          <c:showSerName val="0"/>
          <c:showPercent val="0"/>
          <c:showBubbleSize val="0"/>
        </c:dLbls>
        <c:gapWidth val="219"/>
        <c:overlap val="-27"/>
        <c:axId val="491383296"/>
        <c:axId val="491384128"/>
      </c:barChart>
      <c:catAx>
        <c:axId val="49138329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91384128"/>
        <c:crosses val="autoZero"/>
        <c:auto val="1"/>
        <c:lblAlgn val="ctr"/>
        <c:lblOffset val="100"/>
        <c:noMultiLvlLbl val="0"/>
      </c:catAx>
      <c:valAx>
        <c:axId val="491384128"/>
        <c:scaling>
          <c:orientation val="minMax"/>
          <c:max val="100"/>
        </c:scaling>
        <c:delete val="0"/>
        <c:axPos val="r"/>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91383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NKI per grupp'!$V$6</c:f>
              <c:strCache>
                <c:ptCount val="1"/>
                <c:pt idx="0">
                  <c:v>NK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KI per grupp'!$U$7:$U$17</c:f>
              <c:strCache>
                <c:ptCount val="11"/>
                <c:pt idx="0">
                  <c:v>Annat</c:v>
                </c:pt>
                <c:pt idx="1">
                  <c:v>Primärvård</c:v>
                </c:pt>
                <c:pt idx="2">
                  <c:v>Specialistvård</c:v>
                </c:pt>
                <c:pt idx="4">
                  <c:v>0-5 patienter</c:v>
                </c:pt>
                <c:pt idx="5">
                  <c:v>6-15 patienter</c:v>
                </c:pt>
                <c:pt idx="6">
                  <c:v>16-30 patienter</c:v>
                </c:pt>
                <c:pt idx="7">
                  <c:v>31-50 patienter</c:v>
                </c:pt>
                <c:pt idx="8">
                  <c:v>Fler än 50 patienter</c:v>
                </c:pt>
                <c:pt idx="10">
                  <c:v>Totalsumma</c:v>
                </c:pt>
              </c:strCache>
            </c:strRef>
          </c:cat>
          <c:val>
            <c:numRef>
              <c:f>'NKI per grupp'!$V$7:$V$17</c:f>
              <c:numCache>
                <c:formatCode>0</c:formatCode>
                <c:ptCount val="11"/>
                <c:pt idx="0">
                  <c:v>59.563873439624274</c:v>
                </c:pt>
                <c:pt idx="1">
                  <c:v>63.353705574792023</c:v>
                </c:pt>
                <c:pt idx="2">
                  <c:v>63.879449472096532</c:v>
                </c:pt>
                <c:pt idx="4">
                  <c:v>60.428103616813296</c:v>
                </c:pt>
                <c:pt idx="5">
                  <c:v>63.487878405915843</c:v>
                </c:pt>
                <c:pt idx="6">
                  <c:v>62.477875005652798</c:v>
                </c:pt>
                <c:pt idx="7">
                  <c:v>67.643915343915339</c:v>
                </c:pt>
                <c:pt idx="8">
                  <c:v>62.377782872478775</c:v>
                </c:pt>
                <c:pt idx="10">
                  <c:v>63.108357240327074</c:v>
                </c:pt>
              </c:numCache>
            </c:numRef>
          </c:val>
          <c:extLst>
            <c:ext xmlns:c16="http://schemas.microsoft.com/office/drawing/2014/chart" uri="{C3380CC4-5D6E-409C-BE32-E72D297353CC}">
              <c16:uniqueId val="{00000000-EA04-433A-8A06-A6715C0B83BF}"/>
            </c:ext>
          </c:extLst>
        </c:ser>
        <c:dLbls>
          <c:showLegendKey val="0"/>
          <c:showVal val="0"/>
          <c:showCatName val="0"/>
          <c:showSerName val="0"/>
          <c:showPercent val="0"/>
          <c:showBubbleSize val="0"/>
        </c:dLbls>
        <c:gapWidth val="219"/>
        <c:overlap val="-27"/>
        <c:axId val="587009008"/>
        <c:axId val="587006096"/>
      </c:barChart>
      <c:catAx>
        <c:axId val="5870090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587006096"/>
        <c:crosses val="autoZero"/>
        <c:auto val="1"/>
        <c:lblAlgn val="ctr"/>
        <c:lblOffset val="100"/>
        <c:noMultiLvlLbl val="0"/>
      </c:catAx>
      <c:valAx>
        <c:axId val="58700609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5870090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akgrund!$D$18</c:f>
              <c:strCache>
                <c:ptCount val="1"/>
                <c:pt idx="0">
                  <c:v>2022</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bakgrund!$A$19:$A$22</c:f>
              <c:strCache>
                <c:ptCount val="4"/>
                <c:pt idx="0">
                  <c:v>Annat</c:v>
                </c:pt>
                <c:pt idx="1">
                  <c:v>Kvinna</c:v>
                </c:pt>
                <c:pt idx="2">
                  <c:v>Man</c:v>
                </c:pt>
                <c:pt idx="3">
                  <c:v>Vill ej uppge</c:v>
                </c:pt>
              </c:strCache>
            </c:strRef>
          </c:cat>
          <c:val>
            <c:numRef>
              <c:f>bakgrund!$D$19:$D$22</c:f>
              <c:numCache>
                <c:formatCode>0%</c:formatCode>
                <c:ptCount val="4"/>
                <c:pt idx="0">
                  <c:v>2.9771749917300696E-3</c:v>
                </c:pt>
                <c:pt idx="1">
                  <c:v>0.66556400926232218</c:v>
                </c:pt>
                <c:pt idx="2">
                  <c:v>0.31458815745947732</c:v>
                </c:pt>
                <c:pt idx="3">
                  <c:v>1.6870658286470393E-2</c:v>
                </c:pt>
              </c:numCache>
            </c:numRef>
          </c:val>
          <c:extLst>
            <c:ext xmlns:c16="http://schemas.microsoft.com/office/drawing/2014/chart" uri="{C3380CC4-5D6E-409C-BE32-E72D297353CC}">
              <c16:uniqueId val="{00000000-041A-4883-8C18-EAC1E610CD18}"/>
            </c:ext>
          </c:extLst>
        </c:ser>
        <c:dLbls>
          <c:showLegendKey val="0"/>
          <c:showVal val="0"/>
          <c:showCatName val="0"/>
          <c:showSerName val="0"/>
          <c:showPercent val="0"/>
          <c:showBubbleSize val="0"/>
        </c:dLbls>
        <c:gapWidth val="164"/>
        <c:overlap val="-22"/>
        <c:axId val="659951728"/>
        <c:axId val="659973776"/>
      </c:barChart>
      <c:catAx>
        <c:axId val="65995172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659973776"/>
        <c:crosses val="autoZero"/>
        <c:auto val="1"/>
        <c:lblAlgn val="ctr"/>
        <c:lblOffset val="100"/>
        <c:noMultiLvlLbl val="0"/>
      </c:catAx>
      <c:valAx>
        <c:axId val="65997377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659951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4,5,6'!$R$4</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5,6'!$Q$5:$Q$7</c:f>
              <c:strCache>
                <c:ptCount val="3"/>
                <c:pt idx="0">
                  <c:v>Jag tycker utseendet/designen i Stöd och behandling är bra.</c:v>
                </c:pt>
                <c:pt idx="1">
                  <c:v>När jag använder Stöd och behandling får jag svar inom den tid som jag och min behandlare har kommit överens om (till exempel om jag ställer en fråga).</c:v>
                </c:pt>
                <c:pt idx="2">
                  <c:v>Informationen i Stöd och behandling är tydlig och enkel att förstå.</c:v>
                </c:pt>
              </c:strCache>
            </c:strRef>
          </c:cat>
          <c:val>
            <c:numRef>
              <c:f>'4,5,6'!$R$5:$R$7</c:f>
              <c:numCache>
                <c:formatCode>0%</c:formatCode>
                <c:ptCount val="3"/>
                <c:pt idx="0">
                  <c:v>0.62724885844748857</c:v>
                </c:pt>
                <c:pt idx="1">
                  <c:v>0.74520293122886139</c:v>
                </c:pt>
                <c:pt idx="2">
                  <c:v>0.69607499002792184</c:v>
                </c:pt>
              </c:numCache>
            </c:numRef>
          </c:val>
          <c:extLst>
            <c:ext xmlns:c16="http://schemas.microsoft.com/office/drawing/2014/chart" uri="{C3380CC4-5D6E-409C-BE32-E72D297353CC}">
              <c16:uniqueId val="{00000000-7D8E-4AD7-B0FF-7B9F14531484}"/>
            </c:ext>
          </c:extLst>
        </c:ser>
        <c:ser>
          <c:idx val="1"/>
          <c:order val="1"/>
          <c:tx>
            <c:strRef>
              <c:f>'4,5,6'!$S$4</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5,6'!$Q$5:$Q$7</c:f>
              <c:strCache>
                <c:ptCount val="3"/>
                <c:pt idx="0">
                  <c:v>Jag tycker utseendet/designen i Stöd och behandling är bra.</c:v>
                </c:pt>
                <c:pt idx="1">
                  <c:v>När jag använder Stöd och behandling får jag svar inom den tid som jag och min behandlare har kommit överens om (till exempel om jag ställer en fråga).</c:v>
                </c:pt>
                <c:pt idx="2">
                  <c:v>Informationen i Stöd och behandling är tydlig och enkel att förstå.</c:v>
                </c:pt>
              </c:strCache>
            </c:strRef>
          </c:cat>
          <c:val>
            <c:numRef>
              <c:f>'4,5,6'!$S$5:$S$7</c:f>
              <c:numCache>
                <c:formatCode>0%</c:formatCode>
                <c:ptCount val="3"/>
                <c:pt idx="0">
                  <c:v>0.645984015984016</c:v>
                </c:pt>
                <c:pt idx="1">
                  <c:v>0.81280400572246059</c:v>
                </c:pt>
                <c:pt idx="2">
                  <c:v>0.73578894472361811</c:v>
                </c:pt>
              </c:numCache>
            </c:numRef>
          </c:val>
          <c:extLst>
            <c:ext xmlns:c16="http://schemas.microsoft.com/office/drawing/2014/chart" uri="{C3380CC4-5D6E-409C-BE32-E72D297353CC}">
              <c16:uniqueId val="{00000001-7D8E-4AD7-B0FF-7B9F14531484}"/>
            </c:ext>
          </c:extLst>
        </c:ser>
        <c:ser>
          <c:idx val="2"/>
          <c:order val="2"/>
          <c:tx>
            <c:strRef>
              <c:f>'4,5,6'!$T$4</c:f>
              <c:strCache>
                <c:ptCount val="1"/>
                <c:pt idx="0">
                  <c:v>201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4,5,6'!$Q$5:$Q$7</c:f>
              <c:strCache>
                <c:ptCount val="3"/>
                <c:pt idx="0">
                  <c:v>Jag tycker utseendet/designen i Stöd och behandling är bra.</c:v>
                </c:pt>
                <c:pt idx="1">
                  <c:v>När jag använder Stöd och behandling får jag svar inom den tid som jag och min behandlare har kommit överens om (till exempel om jag ställer en fråga).</c:v>
                </c:pt>
                <c:pt idx="2">
                  <c:v>Informationen i Stöd och behandling är tydlig och enkel att förstå.</c:v>
                </c:pt>
              </c:strCache>
            </c:strRef>
          </c:cat>
          <c:val>
            <c:numRef>
              <c:f>'4,5,6'!$T$5:$T$7</c:f>
              <c:numCache>
                <c:formatCode>0%</c:formatCode>
                <c:ptCount val="3"/>
                <c:pt idx="0">
                  <c:v>0.68200913242009142</c:v>
                </c:pt>
                <c:pt idx="1">
                  <c:v>0.8806179775280899</c:v>
                </c:pt>
                <c:pt idx="2">
                  <c:v>0.77324200913242014</c:v>
                </c:pt>
              </c:numCache>
            </c:numRef>
          </c:val>
          <c:extLst>
            <c:ext xmlns:c16="http://schemas.microsoft.com/office/drawing/2014/chart" uri="{C3380CC4-5D6E-409C-BE32-E72D297353CC}">
              <c16:uniqueId val="{00000002-7D8E-4AD7-B0FF-7B9F14531484}"/>
            </c:ext>
          </c:extLst>
        </c:ser>
        <c:dLbls>
          <c:showLegendKey val="0"/>
          <c:showVal val="0"/>
          <c:showCatName val="0"/>
          <c:showSerName val="0"/>
          <c:showPercent val="0"/>
          <c:showBubbleSize val="0"/>
        </c:dLbls>
        <c:gapWidth val="182"/>
        <c:axId val="642975584"/>
        <c:axId val="642973504"/>
      </c:barChart>
      <c:catAx>
        <c:axId val="6429755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642973504"/>
        <c:crosses val="autoZero"/>
        <c:auto val="1"/>
        <c:lblAlgn val="ctr"/>
        <c:lblOffset val="100"/>
        <c:noMultiLvlLbl val="0"/>
      </c:catAx>
      <c:valAx>
        <c:axId val="642973504"/>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642975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11,12'!$T$3</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1,12'!$S$4:$S$5</c:f>
              <c:strCache>
                <c:ptCount val="2"/>
                <c:pt idx="0">
                  <c:v>Efter avslutad behandling använder jag gärna Stöd och behandling igen.</c:v>
                </c:pt>
                <c:pt idx="1">
                  <c:v>Jag kan rekommendera andra att använda Stöd och behandling.</c:v>
                </c:pt>
              </c:strCache>
            </c:strRef>
          </c:cat>
          <c:val>
            <c:numRef>
              <c:f>'11,12'!$T$4:$T$5</c:f>
              <c:numCache>
                <c:formatCode>0%</c:formatCode>
                <c:ptCount val="2"/>
                <c:pt idx="0">
                  <c:v>0.69944011684518015</c:v>
                </c:pt>
                <c:pt idx="1">
                  <c:v>0.70468179795282604</c:v>
                </c:pt>
              </c:numCache>
            </c:numRef>
          </c:val>
          <c:extLst>
            <c:ext xmlns:c16="http://schemas.microsoft.com/office/drawing/2014/chart" uri="{C3380CC4-5D6E-409C-BE32-E72D297353CC}">
              <c16:uniqueId val="{00000000-5CAB-4E4D-BFD8-47137059FFF3}"/>
            </c:ext>
          </c:extLst>
        </c:ser>
        <c:ser>
          <c:idx val="1"/>
          <c:order val="1"/>
          <c:tx>
            <c:strRef>
              <c:f>'11,12'!$U$3</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1,12'!$S$4:$S$5</c:f>
              <c:strCache>
                <c:ptCount val="2"/>
                <c:pt idx="0">
                  <c:v>Efter avslutad behandling använder jag gärna Stöd och behandling igen.</c:v>
                </c:pt>
                <c:pt idx="1">
                  <c:v>Jag kan rekommendera andra att använda Stöd och behandling.</c:v>
                </c:pt>
              </c:strCache>
            </c:strRef>
          </c:cat>
          <c:val>
            <c:numRef>
              <c:f>'11,12'!$U$4:$U$5</c:f>
              <c:numCache>
                <c:formatCode>0%</c:formatCode>
                <c:ptCount val="2"/>
                <c:pt idx="0">
                  <c:v>0.75077738515901071</c:v>
                </c:pt>
                <c:pt idx="1">
                  <c:v>0.77787678767876778</c:v>
                </c:pt>
              </c:numCache>
            </c:numRef>
          </c:val>
          <c:extLst>
            <c:ext xmlns:c16="http://schemas.microsoft.com/office/drawing/2014/chart" uri="{C3380CC4-5D6E-409C-BE32-E72D297353CC}">
              <c16:uniqueId val="{00000001-5CAB-4E4D-BFD8-47137059FFF3}"/>
            </c:ext>
          </c:extLst>
        </c:ser>
        <c:ser>
          <c:idx val="2"/>
          <c:order val="2"/>
          <c:tx>
            <c:strRef>
              <c:f>'11,12'!$V$3</c:f>
              <c:strCache>
                <c:ptCount val="1"/>
                <c:pt idx="0">
                  <c:v>201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11,12'!$S$4:$S$5</c:f>
              <c:strCache>
                <c:ptCount val="2"/>
                <c:pt idx="0">
                  <c:v>Efter avslutad behandling använder jag gärna Stöd och behandling igen.</c:v>
                </c:pt>
                <c:pt idx="1">
                  <c:v>Jag kan rekommendera andra att använda Stöd och behandling.</c:v>
                </c:pt>
              </c:strCache>
            </c:strRef>
          </c:cat>
          <c:val>
            <c:numRef>
              <c:f>'11,12'!$V$4:$V$5</c:f>
              <c:numCache>
                <c:formatCode>0%</c:formatCode>
                <c:ptCount val="2"/>
                <c:pt idx="0">
                  <c:v>0.77181318681318678</c:v>
                </c:pt>
                <c:pt idx="1">
                  <c:v>0.79776119402985068</c:v>
                </c:pt>
              </c:numCache>
            </c:numRef>
          </c:val>
          <c:extLst>
            <c:ext xmlns:c16="http://schemas.microsoft.com/office/drawing/2014/chart" uri="{C3380CC4-5D6E-409C-BE32-E72D297353CC}">
              <c16:uniqueId val="{00000002-5CAB-4E4D-BFD8-47137059FFF3}"/>
            </c:ext>
          </c:extLst>
        </c:ser>
        <c:dLbls>
          <c:showLegendKey val="0"/>
          <c:showVal val="0"/>
          <c:showCatName val="0"/>
          <c:showSerName val="0"/>
          <c:showPercent val="0"/>
          <c:showBubbleSize val="0"/>
        </c:dLbls>
        <c:gapWidth val="182"/>
        <c:axId val="806058128"/>
        <c:axId val="806060208"/>
      </c:barChart>
      <c:catAx>
        <c:axId val="80605812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806060208"/>
        <c:crosses val="autoZero"/>
        <c:auto val="1"/>
        <c:lblAlgn val="ctr"/>
        <c:lblOffset val="100"/>
        <c:noMultiLvlLbl val="0"/>
      </c:catAx>
      <c:valAx>
        <c:axId val="806060208"/>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8060581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NKI 8,9,10'!$J$4</c:f>
              <c:strCache>
                <c:ptCount val="1"/>
                <c:pt idx="0">
                  <c:v>NKI</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KI 8,9,10'!$K$3:$M$3</c:f>
              <c:numCache>
                <c:formatCode>General</c:formatCode>
                <c:ptCount val="3"/>
                <c:pt idx="0">
                  <c:v>2022</c:v>
                </c:pt>
                <c:pt idx="1">
                  <c:v>2020</c:v>
                </c:pt>
                <c:pt idx="2">
                  <c:v>2016</c:v>
                </c:pt>
              </c:numCache>
            </c:numRef>
          </c:cat>
          <c:val>
            <c:numRef>
              <c:f>'NKI 8,9,10'!$K$4:$M$4</c:f>
              <c:numCache>
                <c:formatCode>0</c:formatCode>
                <c:ptCount val="3"/>
                <c:pt idx="0">
                  <c:v>63.685480240942944</c:v>
                </c:pt>
                <c:pt idx="1">
                  <c:v>68.826189413665347</c:v>
                </c:pt>
                <c:pt idx="2">
                  <c:v>70.031859336856087</c:v>
                </c:pt>
              </c:numCache>
            </c:numRef>
          </c:val>
          <c:extLst>
            <c:ext xmlns:c16="http://schemas.microsoft.com/office/drawing/2014/chart" uri="{C3380CC4-5D6E-409C-BE32-E72D297353CC}">
              <c16:uniqueId val="{00000000-E446-4092-AE38-5C9FD25E7873}"/>
            </c:ext>
          </c:extLst>
        </c:ser>
        <c:dLbls>
          <c:showLegendKey val="0"/>
          <c:showVal val="0"/>
          <c:showCatName val="0"/>
          <c:showSerName val="0"/>
          <c:showPercent val="0"/>
          <c:showBubbleSize val="0"/>
        </c:dLbls>
        <c:gapWidth val="219"/>
        <c:overlap val="-27"/>
        <c:axId val="237721808"/>
        <c:axId val="237722640"/>
      </c:barChart>
      <c:catAx>
        <c:axId val="237721808"/>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237722640"/>
        <c:crosses val="autoZero"/>
        <c:auto val="1"/>
        <c:lblAlgn val="ctr"/>
        <c:lblOffset val="100"/>
        <c:noMultiLvlLbl val="0"/>
      </c:catAx>
      <c:valAx>
        <c:axId val="237722640"/>
        <c:scaling>
          <c:orientation val="minMax"/>
          <c:max val="100"/>
        </c:scaling>
        <c:delete val="0"/>
        <c:axPos val="r"/>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237721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pieChart>
        <c:varyColors val="1"/>
        <c:ser>
          <c:idx val="0"/>
          <c:order val="0"/>
          <c:tx>
            <c:strRef>
              <c:f>'fr.12-15'!$C$25</c:f>
              <c:strCache>
                <c:ptCount val="1"/>
                <c:pt idx="0">
                  <c:v>Med hur många patienter har du använt Stöd och behandling?</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E19-4B94-BC9A-D886C201E30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E19-4B94-BC9A-D886C201E30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E19-4B94-BC9A-D886C201E304}"/>
              </c:ext>
            </c:extLst>
          </c:dPt>
          <c:dPt>
            <c:idx val="3"/>
            <c:bubble3D val="0"/>
            <c:spPr>
              <a:solidFill>
                <a:schemeClr val="accent4">
                  <a:lumMod val="40000"/>
                  <a:lumOff val="60000"/>
                </a:schemeClr>
              </a:solidFill>
              <a:ln w="19050">
                <a:solidFill>
                  <a:schemeClr val="lt1"/>
                </a:solidFill>
              </a:ln>
              <a:effectLst/>
            </c:spPr>
            <c:extLst>
              <c:ext xmlns:c16="http://schemas.microsoft.com/office/drawing/2014/chart" uri="{C3380CC4-5D6E-409C-BE32-E72D297353CC}">
                <c16:uniqueId val="{00000007-3E19-4B94-BC9A-D886C201E304}"/>
              </c:ext>
            </c:extLst>
          </c:dPt>
          <c:dPt>
            <c:idx val="4"/>
            <c:bubble3D val="0"/>
            <c:explosion val="1"/>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9-3E19-4B94-BC9A-D886C201E304}"/>
              </c:ext>
            </c:extLst>
          </c:dPt>
          <c:dPt>
            <c:idx val="5"/>
            <c:bubble3D val="0"/>
            <c:spPr>
              <a:solidFill>
                <a:schemeClr val="accent6">
                  <a:lumMod val="40000"/>
                  <a:lumOff val="60000"/>
                </a:schemeClr>
              </a:solidFill>
              <a:ln w="19050">
                <a:solidFill>
                  <a:schemeClr val="lt1"/>
                </a:solidFill>
              </a:ln>
              <a:effectLst/>
            </c:spPr>
            <c:extLst>
              <c:ext xmlns:c16="http://schemas.microsoft.com/office/drawing/2014/chart" uri="{C3380CC4-5D6E-409C-BE32-E72D297353CC}">
                <c16:uniqueId val="{0000000B-3E19-4B94-BC9A-D886C201E304}"/>
              </c:ext>
            </c:extLst>
          </c:dPt>
          <c:dPt>
            <c:idx val="6"/>
            <c:bubble3D val="0"/>
            <c:spPr>
              <a:solidFill>
                <a:schemeClr val="tx2">
                  <a:lumMod val="60000"/>
                  <a:lumOff val="40000"/>
                </a:schemeClr>
              </a:solidFill>
              <a:ln w="19050">
                <a:solidFill>
                  <a:schemeClr val="lt1"/>
                </a:solidFill>
              </a:ln>
              <a:effectLst/>
            </c:spPr>
            <c:extLst>
              <c:ext xmlns:c16="http://schemas.microsoft.com/office/drawing/2014/chart" uri="{C3380CC4-5D6E-409C-BE32-E72D297353CC}">
                <c16:uniqueId val="{0000000D-3E19-4B94-BC9A-D886C201E304}"/>
              </c:ext>
            </c:extLst>
          </c:dPt>
          <c:dLbls>
            <c:dLbl>
              <c:idx val="0"/>
              <c:layout>
                <c:manualLayout>
                  <c:x val="-0.11360993260588285"/>
                  <c:y val="-9.5862011985175348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19-4B94-BC9A-D886C201E304}"/>
                </c:ext>
              </c:extLst>
            </c:dLbl>
            <c:dLbl>
              <c:idx val="2"/>
              <c:layout>
                <c:manualLayout>
                  <c:x val="-0.13124697718576167"/>
                  <c:y val="0.14463862369449607"/>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1"/>
              <c:showSerName val="0"/>
              <c:showPercent val="0"/>
              <c:showBubbleSize val="0"/>
              <c:extLst>
                <c:ext xmlns:c15="http://schemas.microsoft.com/office/drawing/2012/chart" uri="{CE6537A1-D6FC-4f65-9D91-7224C49458BB}">
                  <c15:layout>
                    <c:manualLayout>
                      <c:w val="0.1389030508549311"/>
                      <c:h val="7.7626267565498619E-2"/>
                    </c:manualLayout>
                  </c15:layout>
                </c:ext>
                <c:ext xmlns:c16="http://schemas.microsoft.com/office/drawing/2014/chart" uri="{C3380CC4-5D6E-409C-BE32-E72D297353CC}">
                  <c16:uniqueId val="{00000005-3E19-4B94-BC9A-D886C201E304}"/>
                </c:ext>
              </c:extLst>
            </c:dLbl>
            <c:dLbl>
              <c:idx val="3"/>
              <c:layout>
                <c:manualLayout>
                  <c:x val="-0.20343281463793059"/>
                  <c:y val="-5.0180755598870953E-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1"/>
              <c:showSerName val="0"/>
              <c:showPercent val="0"/>
              <c:showBubbleSize val="0"/>
              <c:extLst>
                <c:ext xmlns:c15="http://schemas.microsoft.com/office/drawing/2012/chart" uri="{CE6537A1-D6FC-4f65-9D91-7224C49458BB}">
                  <c15:layout>
                    <c:manualLayout>
                      <c:w val="0.15038716135868524"/>
                      <c:h val="8.2979803259670928E-2"/>
                    </c:manualLayout>
                  </c15:layout>
                </c:ext>
                <c:ext xmlns:c16="http://schemas.microsoft.com/office/drawing/2014/chart" uri="{C3380CC4-5D6E-409C-BE32-E72D297353CC}">
                  <c16:uniqueId val="{00000007-3E19-4B94-BC9A-D886C201E304}"/>
                </c:ext>
              </c:extLst>
            </c:dLbl>
            <c:dLbl>
              <c:idx val="4"/>
              <c:layout>
                <c:manualLayout>
                  <c:x val="-2.9511451212639473E-2"/>
                  <c:y val="-0.18489742288379371"/>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E19-4B94-BC9A-D886C201E304}"/>
                </c:ext>
              </c:extLst>
            </c:dLbl>
            <c:dLbl>
              <c:idx val="5"/>
              <c:layout>
                <c:manualLayout>
                  <c:x val="0.18921439210947308"/>
                  <c:y val="-0.12381189446031302"/>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1"/>
              <c:showSerName val="0"/>
              <c:showPercent val="0"/>
              <c:showBubbleSize val="0"/>
              <c:extLst>
                <c:ext xmlns:c15="http://schemas.microsoft.com/office/drawing/2012/chart" uri="{CE6537A1-D6FC-4f65-9D91-7224C49458BB}">
                  <c15:layout>
                    <c:manualLayout>
                      <c:w val="0.18812066729959173"/>
                      <c:h val="8.4987379144985553E-2"/>
                    </c:manualLayout>
                  </c15:layout>
                </c:ext>
                <c:ext xmlns:c16="http://schemas.microsoft.com/office/drawing/2014/chart" uri="{C3380CC4-5D6E-409C-BE32-E72D297353CC}">
                  <c16:uniqueId val="{0000000B-3E19-4B94-BC9A-D886C201E304}"/>
                </c:ext>
              </c:extLst>
            </c:dLbl>
            <c:dLbl>
              <c:idx val="6"/>
              <c:tx>
                <c:rich>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fld id="{0B139F5F-0B94-4836-88FD-FCE0EBD3B17D}" type="CATEGORYNAME">
                      <a:rPr lang="en-US">
                        <a:solidFill>
                          <a:schemeClr val="tx1"/>
                        </a:solidFill>
                      </a:rPr>
                      <a:pPr>
                        <a:defRPr>
                          <a:solidFill>
                            <a:schemeClr val="bg1"/>
                          </a:solidFill>
                        </a:defRPr>
                      </a:pPr>
                      <a:t>[KATEGORINAMN]</a:t>
                    </a:fld>
                    <a:r>
                      <a:rPr lang="en-US" baseline="0" dirty="0">
                        <a:solidFill>
                          <a:schemeClr val="tx1"/>
                        </a:solidFill>
                      </a:rPr>
                      <a:t>; </a:t>
                    </a:r>
                    <a:fld id="{5A48BC8F-51D3-40CE-8F01-ABD7BA5D98F1}" type="VALUE">
                      <a:rPr lang="en-US" baseline="0">
                        <a:solidFill>
                          <a:schemeClr val="tx1"/>
                        </a:solidFill>
                      </a:rPr>
                      <a:pPr>
                        <a:defRPr>
                          <a:solidFill>
                            <a:schemeClr val="bg1"/>
                          </a:solidFill>
                        </a:defRPr>
                      </a:pPr>
                      <a:t>[VÄRDE]</a:t>
                    </a:fld>
                    <a:endParaRPr lang="en-US" baseline="0" dirty="0">
                      <a:solidFill>
                        <a:schemeClr val="tx1"/>
                      </a:solidFill>
                    </a:endParaRPr>
                  </a:p>
                </c:rich>
              </c:tx>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sv-SE"/>
                </a:p>
              </c:txPr>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E19-4B94-BC9A-D886C201E30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r.12-15'!$A$26:$A$32</c:f>
              <c:strCache>
                <c:ptCount val="7"/>
                <c:pt idx="0">
                  <c:v>0 patienter</c:v>
                </c:pt>
                <c:pt idx="1">
                  <c:v>1 patient</c:v>
                </c:pt>
                <c:pt idx="2">
                  <c:v>2-5 patienter</c:v>
                </c:pt>
                <c:pt idx="3">
                  <c:v>6-15 patienter</c:v>
                </c:pt>
                <c:pt idx="4">
                  <c:v>16-30 patienter</c:v>
                </c:pt>
                <c:pt idx="5">
                  <c:v>31-50 patienter</c:v>
                </c:pt>
                <c:pt idx="6">
                  <c:v>Fler än 50 patienter</c:v>
                </c:pt>
              </c:strCache>
            </c:strRef>
          </c:cat>
          <c:val>
            <c:numRef>
              <c:f>'fr.12-15'!$C$26:$C$32</c:f>
              <c:numCache>
                <c:formatCode>0%</c:formatCode>
                <c:ptCount val="7"/>
                <c:pt idx="0">
                  <c:v>2.1951219512195121E-2</c:v>
                </c:pt>
                <c:pt idx="1">
                  <c:v>1.7073170731707318E-2</c:v>
                </c:pt>
                <c:pt idx="2">
                  <c:v>0.13170731707317074</c:v>
                </c:pt>
                <c:pt idx="3">
                  <c:v>0.21219512195121951</c:v>
                </c:pt>
                <c:pt idx="4">
                  <c:v>0.2073170731707317</c:v>
                </c:pt>
                <c:pt idx="5">
                  <c:v>0.15609756097560976</c:v>
                </c:pt>
                <c:pt idx="6">
                  <c:v>0.25365853658536586</c:v>
                </c:pt>
              </c:numCache>
            </c:numRef>
          </c:val>
          <c:extLst>
            <c:ext xmlns:c16="http://schemas.microsoft.com/office/drawing/2014/chart" uri="{C3380CC4-5D6E-409C-BE32-E72D297353CC}">
              <c16:uniqueId val="{0000000E-3E19-4B94-BC9A-D886C201E30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r.2!$C$59</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2!$B$60:$B$69</c:f>
              <c:strCache>
                <c:ptCount val="10"/>
                <c:pt idx="0">
                  <c:v>Det är lätt att logga in på Stöd och behandling.</c:v>
                </c:pt>
                <c:pt idx="1">
                  <c:v>Stöd och behandling är stabilt, dvs. det kraschar inte och det hänger sig inte.</c:v>
                </c:pt>
                <c:pt idx="2">
                  <c:v>Det fungerar bra att använda Stöd och behandling tillsammans med andra system jag använder i mitt arbete.</c:v>
                </c:pt>
                <c:pt idx="3">
                  <c:v>Det finns tillräckligt med stödinformation i Stöd och behandling för att jag ska kunna arbeta.</c:v>
                </c:pt>
                <c:pt idx="4">
                  <c:v>Det är lätt att hitta det jag söker i Stöd och behandling.</c:v>
                </c:pt>
                <c:pt idx="5">
                  <c:v>Det är lätt att använda Stöd och behandling.</c:v>
                </c:pt>
                <c:pt idx="6">
                  <c:v>Det är lätt att ge stöd eller behandling till patienter genom att använda tjänsten.</c:v>
                </c:pt>
                <c:pt idx="7">
                  <c:v>Det är lätt att mäta och följa upp patienternas resultat i Stöd och behandling.</c:v>
                </c:pt>
                <c:pt idx="8">
                  <c:v>Det är lätt att använda meddelandefunktionen i Stöd och behandling.</c:v>
                </c:pt>
                <c:pt idx="9">
                  <c:v>Det är lätt att exportera ut data för uppföljning i Stöd och behandling.</c:v>
                </c:pt>
              </c:strCache>
            </c:strRef>
          </c:cat>
          <c:val>
            <c:numRef>
              <c:f>fr.2!$C$60:$C$69</c:f>
              <c:numCache>
                <c:formatCode>0%</c:formatCode>
                <c:ptCount val="10"/>
                <c:pt idx="0">
                  <c:v>0.79547911547911543</c:v>
                </c:pt>
                <c:pt idx="1">
                  <c:v>0.72506297229219152</c:v>
                </c:pt>
                <c:pt idx="2">
                  <c:v>0.66042440318302387</c:v>
                </c:pt>
                <c:pt idx="3">
                  <c:v>0.69271002710027108</c:v>
                </c:pt>
                <c:pt idx="4">
                  <c:v>0.638459595959596</c:v>
                </c:pt>
                <c:pt idx="5">
                  <c:v>0.69157107231920212</c:v>
                </c:pt>
                <c:pt idx="6">
                  <c:v>0.71225641025641018</c:v>
                </c:pt>
                <c:pt idx="7">
                  <c:v>0.66190615835777133</c:v>
                </c:pt>
                <c:pt idx="8">
                  <c:v>0.78475065616797901</c:v>
                </c:pt>
                <c:pt idx="9">
                  <c:v>0.41129032258064518</c:v>
                </c:pt>
              </c:numCache>
            </c:numRef>
          </c:val>
          <c:extLst>
            <c:ext xmlns:c16="http://schemas.microsoft.com/office/drawing/2014/chart" uri="{C3380CC4-5D6E-409C-BE32-E72D297353CC}">
              <c16:uniqueId val="{00000000-E80C-4A9F-8C8C-ED3A8E423981}"/>
            </c:ext>
          </c:extLst>
        </c:ser>
        <c:ser>
          <c:idx val="1"/>
          <c:order val="1"/>
          <c:tx>
            <c:strRef>
              <c:f>fr.2!$D$59</c:f>
              <c:strCache>
                <c:ptCount val="1"/>
                <c:pt idx="0">
                  <c:v>2020</c:v>
                </c:pt>
              </c:strCache>
            </c:strRef>
          </c:tx>
          <c:spPr>
            <a:solidFill>
              <a:schemeClr val="accent2"/>
            </a:solidFill>
            <a:ln>
              <a:noFill/>
            </a:ln>
            <a:effectLst/>
          </c:spPr>
          <c:invertIfNegative val="0"/>
          <c:cat>
            <c:strRef>
              <c:f>fr.2!$B$60:$B$69</c:f>
              <c:strCache>
                <c:ptCount val="10"/>
                <c:pt idx="0">
                  <c:v>Det är lätt att logga in på Stöd och behandling.</c:v>
                </c:pt>
                <c:pt idx="1">
                  <c:v>Stöd och behandling är stabilt, dvs. det kraschar inte och det hänger sig inte.</c:v>
                </c:pt>
                <c:pt idx="2">
                  <c:v>Det fungerar bra att använda Stöd och behandling tillsammans med andra system jag använder i mitt arbete.</c:v>
                </c:pt>
                <c:pt idx="3">
                  <c:v>Det finns tillräckligt med stödinformation i Stöd och behandling för att jag ska kunna arbeta.</c:v>
                </c:pt>
                <c:pt idx="4">
                  <c:v>Det är lätt att hitta det jag söker i Stöd och behandling.</c:v>
                </c:pt>
                <c:pt idx="5">
                  <c:v>Det är lätt att använda Stöd och behandling.</c:v>
                </c:pt>
                <c:pt idx="6">
                  <c:v>Det är lätt att ge stöd eller behandling till patienter genom att använda tjänsten.</c:v>
                </c:pt>
                <c:pt idx="7">
                  <c:v>Det är lätt att mäta och följa upp patienternas resultat i Stöd och behandling.</c:v>
                </c:pt>
                <c:pt idx="8">
                  <c:v>Det är lätt att använda meddelandefunktionen i Stöd och behandling.</c:v>
                </c:pt>
                <c:pt idx="9">
                  <c:v>Det är lätt att exportera ut data för uppföljning i Stöd och behandling.</c:v>
                </c:pt>
              </c:strCache>
            </c:strRef>
          </c:cat>
          <c:val>
            <c:numRef>
              <c:f>fr.2!$D$60:$D$69</c:f>
              <c:numCache>
                <c:formatCode>0%</c:formatCode>
                <c:ptCount val="10"/>
                <c:pt idx="0">
                  <c:v>0.71436781609195399</c:v>
                </c:pt>
                <c:pt idx="1">
                  <c:v>0.62105882352941177</c:v>
                </c:pt>
                <c:pt idx="2">
                  <c:v>0.58349693251533741</c:v>
                </c:pt>
                <c:pt idx="3">
                  <c:v>0.64860606060606063</c:v>
                </c:pt>
                <c:pt idx="4">
                  <c:v>0.59274853801169591</c:v>
                </c:pt>
                <c:pt idx="5">
                  <c:v>0.63808139534883723</c:v>
                </c:pt>
                <c:pt idx="6">
                  <c:v>0.64201183431952658</c:v>
                </c:pt>
                <c:pt idx="7">
                  <c:v>0.59754838709677427</c:v>
                </c:pt>
                <c:pt idx="8">
                  <c:v>0.75487804878048792</c:v>
                </c:pt>
                <c:pt idx="9">
                  <c:v>0.42843750000000003</c:v>
                </c:pt>
              </c:numCache>
            </c:numRef>
          </c:val>
          <c:extLst>
            <c:ext xmlns:c16="http://schemas.microsoft.com/office/drawing/2014/chart" uri="{C3380CC4-5D6E-409C-BE32-E72D297353CC}">
              <c16:uniqueId val="{00000001-E80C-4A9F-8C8C-ED3A8E423981}"/>
            </c:ext>
          </c:extLst>
        </c:ser>
        <c:ser>
          <c:idx val="2"/>
          <c:order val="2"/>
          <c:tx>
            <c:strRef>
              <c:f>fr.2!$E$59</c:f>
              <c:strCache>
                <c:ptCount val="1"/>
                <c:pt idx="0">
                  <c:v>2016</c:v>
                </c:pt>
              </c:strCache>
            </c:strRef>
          </c:tx>
          <c:spPr>
            <a:solidFill>
              <a:schemeClr val="accent3"/>
            </a:solidFill>
            <a:ln>
              <a:noFill/>
            </a:ln>
            <a:effectLst/>
          </c:spPr>
          <c:invertIfNegative val="0"/>
          <c:cat>
            <c:strRef>
              <c:f>fr.2!$B$60:$B$69</c:f>
              <c:strCache>
                <c:ptCount val="10"/>
                <c:pt idx="0">
                  <c:v>Det är lätt att logga in på Stöd och behandling.</c:v>
                </c:pt>
                <c:pt idx="1">
                  <c:v>Stöd och behandling är stabilt, dvs. det kraschar inte och det hänger sig inte.</c:v>
                </c:pt>
                <c:pt idx="2">
                  <c:v>Det fungerar bra att använda Stöd och behandling tillsammans med andra system jag använder i mitt arbete.</c:v>
                </c:pt>
                <c:pt idx="3">
                  <c:v>Det finns tillräckligt med stödinformation i Stöd och behandling för att jag ska kunna arbeta.</c:v>
                </c:pt>
                <c:pt idx="4">
                  <c:v>Det är lätt att hitta det jag söker i Stöd och behandling.</c:v>
                </c:pt>
                <c:pt idx="5">
                  <c:v>Det är lätt att använda Stöd och behandling.</c:v>
                </c:pt>
                <c:pt idx="6">
                  <c:v>Det är lätt att ge stöd eller behandling till patienter genom att använda tjänsten.</c:v>
                </c:pt>
                <c:pt idx="7">
                  <c:v>Det är lätt att mäta och följa upp patienternas resultat i Stöd och behandling.</c:v>
                </c:pt>
                <c:pt idx="8">
                  <c:v>Det är lätt att använda meddelandefunktionen i Stöd och behandling.</c:v>
                </c:pt>
                <c:pt idx="9">
                  <c:v>Det är lätt att exportera ut data för uppföljning i Stöd och behandling.</c:v>
                </c:pt>
              </c:strCache>
            </c:strRef>
          </c:cat>
          <c:val>
            <c:numRef>
              <c:f>fr.2!$E$60:$E$69</c:f>
              <c:numCache>
                <c:formatCode>0%</c:formatCode>
                <c:ptCount val="10"/>
                <c:pt idx="0">
                  <c:v>0.8005714285714286</c:v>
                </c:pt>
                <c:pt idx="1">
                  <c:v>0.72029411764705886</c:v>
                </c:pt>
                <c:pt idx="2">
                  <c:v>0.72261538461538455</c:v>
                </c:pt>
                <c:pt idx="3">
                  <c:v>0.75721311475409847</c:v>
                </c:pt>
                <c:pt idx="4">
                  <c:v>0.6494029850746269</c:v>
                </c:pt>
                <c:pt idx="5">
                  <c:v>0.6964285714285714</c:v>
                </c:pt>
                <c:pt idx="6">
                  <c:v>0.7444776119402986</c:v>
                </c:pt>
                <c:pt idx="7">
                  <c:v>0.61310344827586216</c:v>
                </c:pt>
                <c:pt idx="8">
                  <c:v>0.78376811594202911</c:v>
                </c:pt>
                <c:pt idx="9">
                  <c:v>0.41423076923076924</c:v>
                </c:pt>
              </c:numCache>
            </c:numRef>
          </c:val>
          <c:extLst>
            <c:ext xmlns:c16="http://schemas.microsoft.com/office/drawing/2014/chart" uri="{C3380CC4-5D6E-409C-BE32-E72D297353CC}">
              <c16:uniqueId val="{00000002-E80C-4A9F-8C8C-ED3A8E423981}"/>
            </c:ext>
          </c:extLst>
        </c:ser>
        <c:dLbls>
          <c:showLegendKey val="0"/>
          <c:showVal val="0"/>
          <c:showCatName val="0"/>
          <c:showSerName val="0"/>
          <c:showPercent val="0"/>
          <c:showBubbleSize val="0"/>
        </c:dLbls>
        <c:gapWidth val="182"/>
        <c:axId val="448281264"/>
        <c:axId val="448284592"/>
      </c:barChart>
      <c:catAx>
        <c:axId val="44828126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48284592"/>
        <c:crosses val="autoZero"/>
        <c:auto val="1"/>
        <c:lblAlgn val="ctr"/>
        <c:lblOffset val="100"/>
        <c:noMultiLvlLbl val="0"/>
      </c:catAx>
      <c:valAx>
        <c:axId val="448284592"/>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48281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r.3-4'!$Z$4</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3-4'!$Y$5:$Y$6</c:f>
              <c:strCache>
                <c:ptCount val="2"/>
                <c:pt idx="0">
                  <c:v>Jag har fått tillräcklig utbildning för att kunna arbeta med Stöd och behandling.</c:v>
                </c:pt>
                <c:pt idx="1">
                  <c:v>På min arbetsplats har vi fungerande rutiner för arbetet med Stöd och behandling.</c:v>
                </c:pt>
              </c:strCache>
            </c:strRef>
          </c:cat>
          <c:val>
            <c:numRef>
              <c:f>'fr.3-4'!$Z$5:$Z$6</c:f>
              <c:numCache>
                <c:formatCode>0%</c:formatCode>
                <c:ptCount val="2"/>
                <c:pt idx="0">
                  <c:v>0.72377171215880898</c:v>
                </c:pt>
                <c:pt idx="1">
                  <c:v>0.66877862595419857</c:v>
                </c:pt>
              </c:numCache>
            </c:numRef>
          </c:val>
          <c:extLst>
            <c:ext xmlns:c16="http://schemas.microsoft.com/office/drawing/2014/chart" uri="{C3380CC4-5D6E-409C-BE32-E72D297353CC}">
              <c16:uniqueId val="{00000000-49F2-4344-AA26-EC236B31C0C5}"/>
            </c:ext>
          </c:extLst>
        </c:ser>
        <c:ser>
          <c:idx val="1"/>
          <c:order val="1"/>
          <c:tx>
            <c:strRef>
              <c:f>'fr.3-4'!$AA$4</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3-4'!$Y$5:$Y$6</c:f>
              <c:strCache>
                <c:ptCount val="2"/>
                <c:pt idx="0">
                  <c:v>Jag har fått tillräcklig utbildning för att kunna arbeta med Stöd och behandling.</c:v>
                </c:pt>
                <c:pt idx="1">
                  <c:v>På min arbetsplats har vi fungerande rutiner för arbetet med Stöd och behandling.</c:v>
                </c:pt>
              </c:strCache>
            </c:strRef>
          </c:cat>
          <c:val>
            <c:numRef>
              <c:f>'fr.3-4'!$AA$5:$AA$6</c:f>
              <c:numCache>
                <c:formatCode>0%</c:formatCode>
                <c:ptCount val="2"/>
                <c:pt idx="0">
                  <c:v>0.71327586206896554</c:v>
                </c:pt>
                <c:pt idx="1">
                  <c:v>0.66550898203592812</c:v>
                </c:pt>
              </c:numCache>
            </c:numRef>
          </c:val>
          <c:extLst>
            <c:ext xmlns:c16="http://schemas.microsoft.com/office/drawing/2014/chart" uri="{C3380CC4-5D6E-409C-BE32-E72D297353CC}">
              <c16:uniqueId val="{00000001-49F2-4344-AA26-EC236B31C0C5}"/>
            </c:ext>
          </c:extLst>
        </c:ser>
        <c:ser>
          <c:idx val="2"/>
          <c:order val="2"/>
          <c:tx>
            <c:strRef>
              <c:f>'fr.3-4'!$AB$4</c:f>
              <c:strCache>
                <c:ptCount val="1"/>
                <c:pt idx="0">
                  <c:v>201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3-4'!$Y$5:$Y$6</c:f>
              <c:strCache>
                <c:ptCount val="2"/>
                <c:pt idx="0">
                  <c:v>Jag har fått tillräcklig utbildning för att kunna arbeta med Stöd och behandling.</c:v>
                </c:pt>
                <c:pt idx="1">
                  <c:v>På min arbetsplats har vi fungerande rutiner för arbetet med Stöd och behandling.</c:v>
                </c:pt>
              </c:strCache>
            </c:strRef>
          </c:cat>
          <c:val>
            <c:numRef>
              <c:f>'fr.3-4'!$AB$5:$AB$6</c:f>
              <c:numCache>
                <c:formatCode>0%</c:formatCode>
                <c:ptCount val="2"/>
                <c:pt idx="0">
                  <c:v>0.78666666666666674</c:v>
                </c:pt>
                <c:pt idx="1">
                  <c:v>0.71121212121212118</c:v>
                </c:pt>
              </c:numCache>
            </c:numRef>
          </c:val>
          <c:extLst>
            <c:ext xmlns:c16="http://schemas.microsoft.com/office/drawing/2014/chart" uri="{C3380CC4-5D6E-409C-BE32-E72D297353CC}">
              <c16:uniqueId val="{00000002-49F2-4344-AA26-EC236B31C0C5}"/>
            </c:ext>
          </c:extLst>
        </c:ser>
        <c:dLbls>
          <c:showLegendKey val="0"/>
          <c:showVal val="0"/>
          <c:showCatName val="0"/>
          <c:showSerName val="0"/>
          <c:showPercent val="0"/>
          <c:showBubbleSize val="0"/>
        </c:dLbls>
        <c:gapWidth val="182"/>
        <c:axId val="779027280"/>
        <c:axId val="779016880"/>
      </c:barChart>
      <c:catAx>
        <c:axId val="77902728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779016880"/>
        <c:crosses val="autoZero"/>
        <c:auto val="1"/>
        <c:lblAlgn val="ctr"/>
        <c:lblOffset val="100"/>
        <c:noMultiLvlLbl val="0"/>
      </c:catAx>
      <c:valAx>
        <c:axId val="779016880"/>
        <c:scaling>
          <c:orientation val="minMax"/>
          <c:max val="1"/>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77902728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fr.3-4'!$Z$29</c:f>
              <c:strCache>
                <c:ptCount val="1"/>
                <c:pt idx="0">
                  <c:v>202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3-4'!$Y$30:$Y$32</c:f>
              <c:strCache>
                <c:ptCount val="3"/>
                <c:pt idx="0">
                  <c:v>Jag har nytta av Stöd och behandling.</c:v>
                </c:pt>
                <c:pt idx="1">
                  <c:v>Stöd och behandling underlättar kontakten med patienterna.</c:v>
                </c:pt>
                <c:pt idx="2">
                  <c:v>Stöd och behandling gör att arbetet på min arbetsplats blir mer effektivt.</c:v>
                </c:pt>
              </c:strCache>
            </c:strRef>
          </c:cat>
          <c:val>
            <c:numRef>
              <c:f>'fr.3-4'!$Z$30:$Z$32</c:f>
              <c:numCache>
                <c:formatCode>0%</c:formatCode>
                <c:ptCount val="3"/>
                <c:pt idx="0">
                  <c:v>0.81408163265306122</c:v>
                </c:pt>
                <c:pt idx="1">
                  <c:v>0.74968992248062016</c:v>
                </c:pt>
                <c:pt idx="2">
                  <c:v>0.72656914893617019</c:v>
                </c:pt>
              </c:numCache>
            </c:numRef>
          </c:val>
          <c:extLst>
            <c:ext xmlns:c16="http://schemas.microsoft.com/office/drawing/2014/chart" uri="{C3380CC4-5D6E-409C-BE32-E72D297353CC}">
              <c16:uniqueId val="{00000000-EA34-4FA4-A620-CAA0EC0A9562}"/>
            </c:ext>
          </c:extLst>
        </c:ser>
        <c:ser>
          <c:idx val="1"/>
          <c:order val="1"/>
          <c:tx>
            <c:strRef>
              <c:f>'fr.3-4'!$AA$29</c:f>
              <c:strCache>
                <c:ptCount val="1"/>
                <c:pt idx="0">
                  <c:v>202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3-4'!$Y$30:$Y$32</c:f>
              <c:strCache>
                <c:ptCount val="3"/>
                <c:pt idx="0">
                  <c:v>Jag har nytta av Stöd och behandling.</c:v>
                </c:pt>
                <c:pt idx="1">
                  <c:v>Stöd och behandling underlättar kontakten med patienterna.</c:v>
                </c:pt>
                <c:pt idx="2">
                  <c:v>Stöd och behandling gör att arbetet på min arbetsplats blir mer effektivt.</c:v>
                </c:pt>
              </c:strCache>
            </c:strRef>
          </c:cat>
          <c:val>
            <c:numRef>
              <c:f>'fr.3-4'!$AA$30:$AA$32</c:f>
              <c:numCache>
                <c:formatCode>0%</c:formatCode>
                <c:ptCount val="3"/>
                <c:pt idx="0">
                  <c:v>0.78905325443786978</c:v>
                </c:pt>
                <c:pt idx="1">
                  <c:v>0.72327272727272729</c:v>
                </c:pt>
                <c:pt idx="2">
                  <c:v>0.69218181818181823</c:v>
                </c:pt>
              </c:numCache>
            </c:numRef>
          </c:val>
          <c:extLst>
            <c:ext xmlns:c16="http://schemas.microsoft.com/office/drawing/2014/chart" uri="{C3380CC4-5D6E-409C-BE32-E72D297353CC}">
              <c16:uniqueId val="{00000001-EA34-4FA4-A620-CAA0EC0A9562}"/>
            </c:ext>
          </c:extLst>
        </c:ser>
        <c:ser>
          <c:idx val="2"/>
          <c:order val="2"/>
          <c:tx>
            <c:strRef>
              <c:f>'fr.3-4'!$AB$29</c:f>
              <c:strCache>
                <c:ptCount val="1"/>
                <c:pt idx="0">
                  <c:v>2016</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sv-S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r.3-4'!$Y$30:$Y$32</c:f>
              <c:strCache>
                <c:ptCount val="3"/>
                <c:pt idx="0">
                  <c:v>Jag har nytta av Stöd och behandling.</c:v>
                </c:pt>
                <c:pt idx="1">
                  <c:v>Stöd och behandling underlättar kontakten med patienterna.</c:v>
                </c:pt>
                <c:pt idx="2">
                  <c:v>Stöd och behandling gör att arbetet på min arbetsplats blir mer effektivt.</c:v>
                </c:pt>
              </c:strCache>
            </c:strRef>
          </c:cat>
          <c:val>
            <c:numRef>
              <c:f>'fr.3-4'!$AB$30:$AB$32</c:f>
              <c:numCache>
                <c:formatCode>0%</c:formatCode>
                <c:ptCount val="3"/>
                <c:pt idx="0">
                  <c:v>0.88014492753623197</c:v>
                </c:pt>
                <c:pt idx="1">
                  <c:v>0.80092307692307696</c:v>
                </c:pt>
                <c:pt idx="2">
                  <c:v>0.76045454545454538</c:v>
                </c:pt>
              </c:numCache>
            </c:numRef>
          </c:val>
          <c:extLst>
            <c:ext xmlns:c16="http://schemas.microsoft.com/office/drawing/2014/chart" uri="{C3380CC4-5D6E-409C-BE32-E72D297353CC}">
              <c16:uniqueId val="{00000002-EA34-4FA4-A620-CAA0EC0A9562}"/>
            </c:ext>
          </c:extLst>
        </c:ser>
        <c:dLbls>
          <c:showLegendKey val="0"/>
          <c:showVal val="0"/>
          <c:showCatName val="0"/>
          <c:showSerName val="0"/>
          <c:showPercent val="0"/>
          <c:showBubbleSize val="0"/>
        </c:dLbls>
        <c:gapWidth val="182"/>
        <c:axId val="491456928"/>
        <c:axId val="491464416"/>
      </c:barChart>
      <c:catAx>
        <c:axId val="49145692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91464416"/>
        <c:crosses val="autoZero"/>
        <c:auto val="1"/>
        <c:lblAlgn val="ctr"/>
        <c:lblOffset val="100"/>
        <c:noMultiLvlLbl val="0"/>
      </c:catAx>
      <c:valAx>
        <c:axId val="491464416"/>
        <c:scaling>
          <c:orientation val="minMax"/>
        </c:scaling>
        <c:delete val="0"/>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crossAx val="4914569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v-S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2-05-2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36DEDCF4-EC53-45ED-9657-3068B2115E42}" type="slidenum">
              <a:rPr lang="sv-SE" smtClean="0"/>
              <a:t>4</a:t>
            </a:fld>
            <a:endParaRPr lang="sv-SE"/>
          </a:p>
        </p:txBody>
      </p:sp>
    </p:spTree>
    <p:extLst>
      <p:ext uri="{BB962C8B-B14F-4D97-AF65-F5344CB8AC3E}">
        <p14:creationId xmlns:p14="http://schemas.microsoft.com/office/powerpoint/2010/main" val="34957487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6"/>
        <p:cNvGrpSpPr/>
        <p:nvPr/>
      </p:nvGrpSpPr>
      <p:grpSpPr>
        <a:xfrm>
          <a:off x="0" y="0"/>
          <a:ext cx="0" cy="0"/>
          <a:chOff x="0" y="0"/>
          <a:chExt cx="0" cy="0"/>
        </a:xfrm>
      </p:grpSpPr>
      <p:sp>
        <p:nvSpPr>
          <p:cNvPr id="157" name="Google Shape;157;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8" name="Google Shape;158;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182139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9" name="Google Shape;149;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28171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7"/>
        <p:cNvGrpSpPr/>
        <p:nvPr/>
      </p:nvGrpSpPr>
      <p:grpSpPr>
        <a:xfrm>
          <a:off x="0" y="0"/>
          <a:ext cx="0" cy="0"/>
          <a:chOff x="0" y="0"/>
          <a:chExt cx="0" cy="0"/>
        </a:xfrm>
      </p:grpSpPr>
      <p:sp>
        <p:nvSpPr>
          <p:cNvPr id="148" name="Google Shape;148;p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49" name="Google Shape;149;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30823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edcb3ed9b3_0_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9" name="Google Shape;239;gedcb3ed9b3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915948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edcb3ed9b3_0_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9" name="Google Shape;239;gedcb3ed9b3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537246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edcb3ed9b3_0_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9" name="Google Shape;239;gedcb3ed9b3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961977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0"/>
        <p:cNvGrpSpPr/>
        <p:nvPr/>
      </p:nvGrpSpPr>
      <p:grpSpPr>
        <a:xfrm>
          <a:off x="0" y="0"/>
          <a:ext cx="0" cy="0"/>
          <a:chOff x="0" y="0"/>
          <a:chExt cx="0" cy="0"/>
        </a:xfrm>
      </p:grpSpPr>
      <p:sp>
        <p:nvSpPr>
          <p:cNvPr id="351" name="Google Shape;351;gf2ed212cae_0_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a:cs typeface="Calibri"/>
              </a:rPr>
              <a:t>Majah</a:t>
            </a:r>
            <a:endParaRPr/>
          </a:p>
        </p:txBody>
      </p:sp>
      <p:sp>
        <p:nvSpPr>
          <p:cNvPr id="352" name="Google Shape;352;gf2ed212cae_0_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487325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gedcb3ed9b3_0_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9" name="Google Shape;239;gedcb3ed9b3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091699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9402CD-6991-4956-97B9-E3910AAB45A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64928556-41DC-4E7D-B277-65FF65098483}"/>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B2DCD5D-84F3-4333-9600-FAF6E5BA3931}"/>
              </a:ext>
            </a:extLst>
          </p:cNvPr>
          <p:cNvSpPr>
            <a:spLocks noGrp="1"/>
          </p:cNvSpPr>
          <p:nvPr>
            <p:ph type="dt" sz="half" idx="10"/>
          </p:nvPr>
        </p:nvSpPr>
        <p:spPr/>
        <p:txBody>
          <a:bodyPr/>
          <a:lstStyle/>
          <a:p>
            <a:fld id="{28F1A163-B24D-46EA-873E-74E7789AD673}" type="datetimeFigureOut">
              <a:rPr lang="sv-SE" smtClean="0"/>
              <a:t>2022-05-20</a:t>
            </a:fld>
            <a:endParaRPr lang="sv-SE"/>
          </a:p>
        </p:txBody>
      </p:sp>
      <p:sp>
        <p:nvSpPr>
          <p:cNvPr id="5" name="Platshållare för sidfot 4">
            <a:extLst>
              <a:ext uri="{FF2B5EF4-FFF2-40B4-BE49-F238E27FC236}">
                <a16:creationId xmlns:a16="http://schemas.microsoft.com/office/drawing/2014/main" id="{093736BC-98B2-4BCE-A2E9-183F5B48C95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41D28AC-A24D-4524-BA21-B7D614B947C7}"/>
              </a:ext>
            </a:extLst>
          </p:cNvPr>
          <p:cNvSpPr>
            <a:spLocks noGrp="1"/>
          </p:cNvSpPr>
          <p:nvPr>
            <p:ph type="sldNum" sz="quarter" idx="12"/>
          </p:nvPr>
        </p:nvSpPr>
        <p:spPr/>
        <p:txBody>
          <a:bodyPr/>
          <a:lstStyle/>
          <a:p>
            <a:fld id="{D1B389D8-6223-4B1D-82AB-19C377706A8C}" type="slidenum">
              <a:rPr lang="sv-SE" smtClean="0"/>
              <a:t>‹#›</a:t>
            </a:fld>
            <a:endParaRPr lang="sv-SE"/>
          </a:p>
        </p:txBody>
      </p:sp>
    </p:spTree>
    <p:extLst>
      <p:ext uri="{BB962C8B-B14F-4D97-AF65-F5344CB8AC3E}">
        <p14:creationId xmlns:p14="http://schemas.microsoft.com/office/powerpoint/2010/main" val="2830715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tandardsida bild höger">
  <p:cSld name="1_Standardsida bild höger">
    <p:spTree>
      <p:nvGrpSpPr>
        <p:cNvPr id="1" name="Shape 46"/>
        <p:cNvGrpSpPr/>
        <p:nvPr/>
      </p:nvGrpSpPr>
      <p:grpSpPr>
        <a:xfrm>
          <a:off x="0" y="0"/>
          <a:ext cx="0" cy="0"/>
          <a:chOff x="0" y="0"/>
          <a:chExt cx="0" cy="0"/>
        </a:xfrm>
      </p:grpSpPr>
      <p:sp>
        <p:nvSpPr>
          <p:cNvPr id="47" name="Google Shape;47;p18"/>
          <p:cNvSpPr txBox="1">
            <a:spLocks noGrp="1"/>
          </p:cNvSpPr>
          <p:nvPr>
            <p:ph type="title"/>
          </p:nvPr>
        </p:nvSpPr>
        <p:spPr>
          <a:xfrm>
            <a:off x="874296" y="84221"/>
            <a:ext cx="10567736" cy="1149264"/>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2"/>
              </a:buClr>
              <a:buSzPts val="3400"/>
              <a:buFont typeface="Inter"/>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18"/>
          <p:cNvSpPr txBox="1">
            <a:spLocks noGrp="1"/>
          </p:cNvSpPr>
          <p:nvPr>
            <p:ph type="body" idx="1"/>
          </p:nvPr>
        </p:nvSpPr>
        <p:spPr>
          <a:xfrm>
            <a:off x="922424" y="1693273"/>
            <a:ext cx="5919810" cy="3564527"/>
          </a:xfrm>
          <a:prstGeom prst="rect">
            <a:avLst/>
          </a:prstGeom>
          <a:noFill/>
          <a:ln>
            <a:noFill/>
          </a:ln>
        </p:spPr>
        <p:txBody>
          <a:bodyPr spcFirstLastPara="1" wrap="square" lIns="0" tIns="0" rIns="0" bIns="0" anchor="t" anchorCtr="0">
            <a:noAutofit/>
          </a:bodyPr>
          <a:lstStyle>
            <a:lvl1pPr marL="457200" lvl="0" indent="-342900" algn="l">
              <a:lnSpc>
                <a:spcPct val="90000"/>
              </a:lnSpc>
              <a:spcBef>
                <a:spcPts val="1000"/>
              </a:spcBef>
              <a:spcAft>
                <a:spcPts val="0"/>
              </a:spcAft>
              <a:buSzPts val="1800"/>
              <a:buChar char="•"/>
              <a:defRPr/>
            </a:lvl1pPr>
            <a:lvl2pPr marL="914400" lvl="1" indent="-342900" algn="l">
              <a:lnSpc>
                <a:spcPct val="90000"/>
              </a:lnSpc>
              <a:spcBef>
                <a:spcPts val="500"/>
              </a:spcBef>
              <a:spcAft>
                <a:spcPts val="0"/>
              </a:spcAft>
              <a:buSzPts val="1800"/>
              <a:buChar char="–"/>
              <a:defRPr/>
            </a:lvl2pPr>
            <a:lvl3pPr marL="1371600" lvl="2" indent="-342900" algn="l">
              <a:lnSpc>
                <a:spcPct val="90000"/>
              </a:lnSpc>
              <a:spcBef>
                <a:spcPts val="500"/>
              </a:spcBef>
              <a:spcAft>
                <a:spcPts val="0"/>
              </a:spcAft>
              <a:buSzPts val="1800"/>
              <a:buChar char="–"/>
              <a:defRPr/>
            </a:lvl3pPr>
            <a:lvl4pPr marL="1828800" lvl="3" indent="-342900" algn="l">
              <a:lnSpc>
                <a:spcPct val="90000"/>
              </a:lnSpc>
              <a:spcBef>
                <a:spcPts val="500"/>
              </a:spcBef>
              <a:spcAft>
                <a:spcPts val="0"/>
              </a:spcAft>
              <a:buSzPts val="1800"/>
              <a:buChar char="–"/>
              <a:defRPr/>
            </a:lvl4pPr>
            <a:lvl5pPr marL="2286000" lvl="4" indent="-342900" algn="l">
              <a:lnSpc>
                <a:spcPct val="90000"/>
              </a:lnSpc>
              <a:spcBef>
                <a:spcPts val="500"/>
              </a:spcBef>
              <a:spcAft>
                <a:spcPts val="0"/>
              </a:spcAft>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18"/>
          <p:cNvSpPr txBox="1">
            <a:spLocks noGrp="1"/>
          </p:cNvSpPr>
          <p:nvPr>
            <p:ph type="ftr" idx="11"/>
          </p:nvPr>
        </p:nvSpPr>
        <p:spPr>
          <a:xfrm>
            <a:off x="711722" y="6311973"/>
            <a:ext cx="4114800" cy="365125"/>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0" name="Google Shape;50;p18"/>
          <p:cNvSpPr txBox="1">
            <a:spLocks noGrp="1"/>
          </p:cNvSpPr>
          <p:nvPr>
            <p:ph type="sldNum" idx="12"/>
          </p:nvPr>
        </p:nvSpPr>
        <p:spPr>
          <a:xfrm>
            <a:off x="276721" y="6311994"/>
            <a:ext cx="390055"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
        <p:nvSpPr>
          <p:cNvPr id="51" name="Google Shape;51;p18"/>
          <p:cNvSpPr>
            <a:spLocks noGrp="1"/>
          </p:cNvSpPr>
          <p:nvPr>
            <p:ph type="pic" idx="2"/>
          </p:nvPr>
        </p:nvSpPr>
        <p:spPr>
          <a:xfrm>
            <a:off x="7346348" y="1619250"/>
            <a:ext cx="4110037" cy="3709988"/>
          </a:xfrm>
          <a:prstGeom prst="roundRect">
            <a:avLst>
              <a:gd name="adj" fmla="val 1369"/>
            </a:avLst>
          </a:prstGeom>
          <a:noFill/>
          <a:ln>
            <a:noFill/>
          </a:ln>
        </p:spPr>
      </p:sp>
    </p:spTree>
    <p:extLst>
      <p:ext uri="{BB962C8B-B14F-4D97-AF65-F5344CB8AC3E}">
        <p14:creationId xmlns:p14="http://schemas.microsoft.com/office/powerpoint/2010/main" val="662828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Startsida med bild, stående ROSA">
  <p:cSld name="1_Startsida med bild, stående ROSA">
    <p:spTree>
      <p:nvGrpSpPr>
        <p:cNvPr id="1" name="Shape 52"/>
        <p:cNvGrpSpPr/>
        <p:nvPr/>
      </p:nvGrpSpPr>
      <p:grpSpPr>
        <a:xfrm>
          <a:off x="0" y="0"/>
          <a:ext cx="0" cy="0"/>
          <a:chOff x="0" y="0"/>
          <a:chExt cx="0" cy="0"/>
        </a:xfrm>
      </p:grpSpPr>
      <p:sp>
        <p:nvSpPr>
          <p:cNvPr id="53" name="Google Shape;53;p19"/>
          <p:cNvSpPr/>
          <p:nvPr/>
        </p:nvSpPr>
        <p:spPr>
          <a:xfrm>
            <a:off x="4534293" y="0"/>
            <a:ext cx="7657707" cy="6858000"/>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Open Sans"/>
              <a:ea typeface="Open Sans"/>
              <a:cs typeface="Open Sans"/>
              <a:sym typeface="Open Sans"/>
            </a:endParaRPr>
          </a:p>
        </p:txBody>
      </p:sp>
      <p:sp>
        <p:nvSpPr>
          <p:cNvPr id="54" name="Google Shape;54;p19"/>
          <p:cNvSpPr>
            <a:spLocks noGrp="1"/>
          </p:cNvSpPr>
          <p:nvPr>
            <p:ph type="pic" idx="2"/>
          </p:nvPr>
        </p:nvSpPr>
        <p:spPr>
          <a:xfrm>
            <a:off x="0" y="0"/>
            <a:ext cx="5409044" cy="6124575"/>
          </a:xfrm>
          <a:prstGeom prst="rect">
            <a:avLst/>
          </a:prstGeom>
          <a:solidFill>
            <a:schemeClr val="lt1"/>
          </a:solidFill>
          <a:ln>
            <a:noFill/>
          </a:ln>
        </p:spPr>
      </p:sp>
      <p:sp>
        <p:nvSpPr>
          <p:cNvPr id="55" name="Google Shape;55;p19"/>
          <p:cNvSpPr txBox="1">
            <a:spLocks noGrp="1"/>
          </p:cNvSpPr>
          <p:nvPr>
            <p:ph type="title"/>
          </p:nvPr>
        </p:nvSpPr>
        <p:spPr>
          <a:xfrm>
            <a:off x="6113929" y="2438399"/>
            <a:ext cx="5732929" cy="2518839"/>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accent2"/>
              </a:buClr>
              <a:buSzPts val="4600"/>
              <a:buFont typeface="Inter"/>
              <a:buNone/>
              <a:defRPr sz="46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6" name="Google Shape;56;p19"/>
          <p:cNvPicPr preferRelativeResize="0"/>
          <p:nvPr/>
        </p:nvPicPr>
        <p:blipFill rotWithShape="1">
          <a:blip r:embed="rId2">
            <a:alphaModFix/>
          </a:blip>
          <a:srcRect/>
          <a:stretch/>
        </p:blipFill>
        <p:spPr>
          <a:xfrm>
            <a:off x="10979317" y="6316726"/>
            <a:ext cx="811630" cy="329318"/>
          </a:xfrm>
          <a:prstGeom prst="rect">
            <a:avLst/>
          </a:prstGeom>
          <a:noFill/>
          <a:ln>
            <a:noFill/>
          </a:ln>
        </p:spPr>
      </p:pic>
      <p:sp>
        <p:nvSpPr>
          <p:cNvPr id="57" name="Google Shape;57;p19"/>
          <p:cNvSpPr/>
          <p:nvPr/>
        </p:nvSpPr>
        <p:spPr>
          <a:xfrm>
            <a:off x="-2575249" y="4294662"/>
            <a:ext cx="2447663" cy="861774"/>
          </a:xfrm>
          <a:prstGeom prst="rect">
            <a:avLst/>
          </a:prstGeom>
          <a:noFill/>
          <a:ln>
            <a:noFill/>
          </a:ln>
        </p:spPr>
        <p:txBody>
          <a:bodyPr spcFirstLastPara="1" wrap="square" lIns="91425" tIns="45700" rIns="91425" bIns="45700" anchor="t" anchorCtr="0">
            <a:spAutoFit/>
          </a:bodyPr>
          <a:lstStyle/>
          <a:p>
            <a:pPr marL="0" marR="0" lvl="0" indent="0" algn="r" rtl="0">
              <a:spcBef>
                <a:spcPts val="0"/>
              </a:spcBef>
              <a:spcAft>
                <a:spcPts val="0"/>
              </a:spcAft>
              <a:buNone/>
            </a:pPr>
            <a:r>
              <a:rPr lang="sv-SE" sz="1000">
                <a:solidFill>
                  <a:schemeClr val="dk1"/>
                </a:solidFill>
                <a:latin typeface="Calibri"/>
                <a:ea typeface="Calibri"/>
                <a:cs typeface="Calibri"/>
                <a:sym typeface="Calibri"/>
              </a:rPr>
              <a:t>Varje rubrik inleds </a:t>
            </a:r>
            <a:r>
              <a:rPr lang="sv-SE" sz="1000">
                <a:solidFill>
                  <a:schemeClr val="accent1"/>
                </a:solidFill>
                <a:latin typeface="Calibri"/>
                <a:ea typeface="Calibri"/>
                <a:cs typeface="Calibri"/>
                <a:sym typeface="Calibri"/>
              </a:rPr>
              <a:t>med ljusare röd</a:t>
            </a:r>
            <a:r>
              <a:rPr lang="sv-SE" sz="1000">
                <a:solidFill>
                  <a:schemeClr val="dk1"/>
                </a:solidFill>
                <a:latin typeface="Calibri"/>
                <a:ea typeface="Calibri"/>
                <a:cs typeface="Calibri"/>
                <a:sym typeface="Calibri"/>
              </a:rPr>
              <a:t> se bild. (Bild på inringad färg i paletten)</a:t>
            </a:r>
            <a:endParaRPr/>
          </a:p>
          <a:p>
            <a:pPr marL="0" marR="0" lvl="0" indent="0" algn="r" rtl="0">
              <a:spcBef>
                <a:spcPts val="0"/>
              </a:spcBef>
              <a:spcAft>
                <a:spcPts val="0"/>
              </a:spcAft>
              <a:buNone/>
            </a:pPr>
            <a:endParaRPr sz="1000">
              <a:solidFill>
                <a:schemeClr val="dk1"/>
              </a:solidFill>
              <a:latin typeface="Calibri"/>
              <a:ea typeface="Calibri"/>
              <a:cs typeface="Calibri"/>
              <a:sym typeface="Calibri"/>
            </a:endParaRPr>
          </a:p>
          <a:p>
            <a:pPr marL="0" marR="0" lvl="0" indent="0" algn="r" rtl="0">
              <a:spcBef>
                <a:spcPts val="0"/>
              </a:spcBef>
              <a:spcAft>
                <a:spcPts val="0"/>
              </a:spcAft>
              <a:buNone/>
            </a:pPr>
            <a:r>
              <a:rPr lang="sv-SE" sz="1000">
                <a:solidFill>
                  <a:schemeClr val="dk1"/>
                </a:solidFill>
                <a:latin typeface="Calibri"/>
                <a:ea typeface="Calibri"/>
                <a:cs typeface="Calibri"/>
                <a:sym typeface="Calibri"/>
              </a:rPr>
              <a:t>Detta måste göras manuellt genom att markera texten.</a:t>
            </a:r>
            <a:endParaRPr/>
          </a:p>
        </p:txBody>
      </p:sp>
      <p:pic>
        <p:nvPicPr>
          <p:cNvPr id="58" name="Google Shape;58;p19"/>
          <p:cNvPicPr preferRelativeResize="0"/>
          <p:nvPr/>
        </p:nvPicPr>
        <p:blipFill rotWithShape="1">
          <a:blip r:embed="rId3">
            <a:alphaModFix/>
          </a:blip>
          <a:srcRect/>
          <a:stretch/>
        </p:blipFill>
        <p:spPr>
          <a:xfrm>
            <a:off x="-1940767" y="5261867"/>
            <a:ext cx="1685925" cy="628650"/>
          </a:xfrm>
          <a:prstGeom prst="rect">
            <a:avLst/>
          </a:prstGeom>
          <a:noFill/>
          <a:ln>
            <a:noFill/>
          </a:ln>
        </p:spPr>
      </p:pic>
      <p:sp>
        <p:nvSpPr>
          <p:cNvPr id="59" name="Google Shape;59;p19"/>
          <p:cNvSpPr/>
          <p:nvPr/>
        </p:nvSpPr>
        <p:spPr>
          <a:xfrm>
            <a:off x="0" y="6112042"/>
            <a:ext cx="12192000" cy="745958"/>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Open Sans"/>
              <a:ea typeface="Open Sans"/>
              <a:cs typeface="Open Sans"/>
              <a:sym typeface="Open Sans"/>
            </a:endParaRPr>
          </a:p>
        </p:txBody>
      </p:sp>
      <p:sp>
        <p:nvSpPr>
          <p:cNvPr id="60" name="Google Shape;60;p19"/>
          <p:cNvSpPr txBox="1">
            <a:spLocks noGrp="1"/>
          </p:cNvSpPr>
          <p:nvPr>
            <p:ph type="subTitle" idx="1"/>
          </p:nvPr>
        </p:nvSpPr>
        <p:spPr>
          <a:xfrm>
            <a:off x="385840" y="6284797"/>
            <a:ext cx="5717628" cy="410286"/>
          </a:xfrm>
          <a:prstGeom prst="rect">
            <a:avLst/>
          </a:prstGeom>
          <a:noFill/>
          <a:ln>
            <a:noFill/>
          </a:ln>
        </p:spPr>
        <p:txBody>
          <a:bodyPr spcFirstLastPara="1" wrap="square" lIns="0" tIns="0" rIns="0" bIns="0" anchor="ctr" anchorCtr="0">
            <a:noAutofit/>
          </a:bodyPr>
          <a:lstStyle>
            <a:lvl1pPr lvl="0" algn="l">
              <a:lnSpc>
                <a:spcPct val="90000"/>
              </a:lnSpc>
              <a:spcBef>
                <a:spcPts val="1000"/>
              </a:spcBef>
              <a:spcAft>
                <a:spcPts val="0"/>
              </a:spcAft>
              <a:buSzPts val="1100"/>
              <a:buNone/>
              <a:defRPr sz="1100" b="0" cap="none">
                <a:solidFill>
                  <a:schemeClr val="lt1"/>
                </a:solidFill>
                <a:latin typeface="Inter"/>
                <a:ea typeface="Inter"/>
                <a:cs typeface="Inter"/>
                <a:sym typeface="Inter"/>
              </a:defRPr>
            </a:lvl1pPr>
            <a:lvl2pPr lvl="1" algn="ctr">
              <a:lnSpc>
                <a:spcPct val="90000"/>
              </a:lnSpc>
              <a:spcBef>
                <a:spcPts val="500"/>
              </a:spcBef>
              <a:spcAft>
                <a:spcPts val="0"/>
              </a:spcAft>
              <a:buSzPts val="2000"/>
              <a:buNone/>
              <a:defRPr sz="2000"/>
            </a:lvl2pPr>
            <a:lvl3pPr lvl="2" algn="ctr">
              <a:lnSpc>
                <a:spcPct val="90000"/>
              </a:lnSpc>
              <a:spcBef>
                <a:spcPts val="500"/>
              </a:spcBef>
              <a:spcAft>
                <a:spcPts val="0"/>
              </a:spcAft>
              <a:buSzPts val="1800"/>
              <a:buNone/>
              <a:defRPr sz="1800"/>
            </a:lvl3pPr>
            <a:lvl4pPr lvl="3" algn="ctr">
              <a:lnSpc>
                <a:spcPct val="90000"/>
              </a:lnSpc>
              <a:spcBef>
                <a:spcPts val="500"/>
              </a:spcBef>
              <a:spcAft>
                <a:spcPts val="0"/>
              </a:spcAft>
              <a:buSzPts val="1600"/>
              <a:buNone/>
              <a:defRPr sz="1600"/>
            </a:lvl4pPr>
            <a:lvl5pPr lvl="4" algn="ctr">
              <a:lnSpc>
                <a:spcPct val="90000"/>
              </a:lnSpc>
              <a:spcBef>
                <a:spcPts val="500"/>
              </a:spcBef>
              <a:spcAft>
                <a:spcPts val="0"/>
              </a:spcAft>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61" name="Google Shape;61;p19"/>
          <p:cNvPicPr preferRelativeResize="0"/>
          <p:nvPr/>
        </p:nvPicPr>
        <p:blipFill rotWithShape="1">
          <a:blip r:embed="rId2">
            <a:alphaModFix/>
          </a:blip>
          <a:srcRect/>
          <a:stretch/>
        </p:blipFill>
        <p:spPr>
          <a:xfrm>
            <a:off x="10979317" y="6298796"/>
            <a:ext cx="811630" cy="329318"/>
          </a:xfrm>
          <a:prstGeom prst="rect">
            <a:avLst/>
          </a:prstGeom>
          <a:noFill/>
          <a:ln>
            <a:noFill/>
          </a:ln>
        </p:spPr>
      </p:pic>
    </p:spTree>
    <p:extLst>
      <p:ext uri="{BB962C8B-B14F-4D97-AF65-F5344CB8AC3E}">
        <p14:creationId xmlns:p14="http://schemas.microsoft.com/office/powerpoint/2010/main" val="1281965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7"/>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1" imgH="412" progId="TCLayout.ActiveDocument.1">
                  <p:embed/>
                </p:oleObj>
              </mc:Choice>
              <mc:Fallback>
                <p:oleObj name="think-cell Slide" r:id="rId19"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51" r:id="rId3"/>
    <p:sldLayoutId id="2147483659" r:id="rId4"/>
    <p:sldLayoutId id="2147483656" r:id="rId5"/>
    <p:sldLayoutId id="2147483657" r:id="rId6"/>
    <p:sldLayoutId id="2147483660" r:id="rId7"/>
    <p:sldLayoutId id="2147483653" r:id="rId8"/>
    <p:sldLayoutId id="2147483654" r:id="rId9"/>
    <p:sldLayoutId id="2147483664" r:id="rId10"/>
    <p:sldLayoutId id="2147483652" r:id="rId11"/>
    <p:sldLayoutId id="2147483655" r:id="rId12"/>
    <p:sldLayoutId id="2147483661" r:id="rId13"/>
    <p:sldLayoutId id="2147483666" r:id="rId14"/>
    <p:sldLayoutId id="2147483669"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9.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13.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4.svg"/></Relationships>
</file>

<file path=ppt/slides/_rels/slide20.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1.xml"/></Relationships>
</file>

<file path=ppt/slides/_rels/slide3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7.jp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20.png"/><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1.xml"/></Relationships>
</file>

<file path=ppt/slides/_rels/slide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hyperlink" Target="mailto:stodochbehandling@1177.se" TargetMode="External"/><Relationship Id="rId2" Type="http://schemas.openxmlformats.org/officeDocument/2006/relationships/hyperlink" Target="https://inera.atlassian.net/wiki/spaces/OSOB/pages/2633466092/Anv+ndarforum+2022" TargetMode="Externa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mailto:Bjorn.olars@inera.se" TargetMode="External"/><Relationship Id="rId1" Type="http://schemas.openxmlformats.org/officeDocument/2006/relationships/slideLayout" Target="../slideLayouts/slideLayout1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49.png"/></Relationships>
</file>

<file path=ppt/slides/_rels/slide6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69.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4.xml"/></Relationships>
</file>

<file path=ppt/slides/_rels/slide7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dirty="0">
                <a:solidFill>
                  <a:schemeClr val="accent1"/>
                </a:solidFill>
              </a:rPr>
              <a:t>Användarforum </a:t>
            </a:r>
            <a:br>
              <a:rPr lang="sv-SE" dirty="0">
                <a:solidFill>
                  <a:schemeClr val="accent1"/>
                </a:solidFill>
              </a:rPr>
            </a:br>
            <a:r>
              <a:rPr lang="sv-SE" sz="1200" dirty="0">
                <a:solidFill>
                  <a:schemeClr val="accent1"/>
                </a:solidFill>
              </a:rPr>
              <a:t> </a:t>
            </a:r>
            <a:br>
              <a:rPr lang="sv-SE" dirty="0">
                <a:solidFill>
                  <a:schemeClr val="accent1"/>
                </a:solidFill>
              </a:rPr>
            </a:br>
            <a:r>
              <a:rPr lang="sv-SE" sz="3600" dirty="0">
                <a:solidFill>
                  <a:schemeClr val="accent1"/>
                </a:solidFill>
              </a:rPr>
              <a:t>Stöd och behandling</a:t>
            </a:r>
            <a:endParaRPr lang="sv-SE" dirty="0"/>
          </a:p>
        </p:txBody>
      </p:sp>
      <p:sp>
        <p:nvSpPr>
          <p:cNvPr id="4" name="Underrubrik 3">
            <a:extLst>
              <a:ext uri="{FF2B5EF4-FFF2-40B4-BE49-F238E27FC236}">
                <a16:creationId xmlns:a16="http://schemas.microsoft.com/office/drawing/2014/main" id="{7C3A8192-81A1-4B54-8CE2-055E1C43C19C}"/>
              </a:ext>
            </a:extLst>
          </p:cNvPr>
          <p:cNvSpPr>
            <a:spLocks noGrp="1"/>
          </p:cNvSpPr>
          <p:nvPr>
            <p:ph type="subTitle" idx="1"/>
          </p:nvPr>
        </p:nvSpPr>
        <p:spPr/>
        <p:txBody>
          <a:bodyPr/>
          <a:lstStyle/>
          <a:p>
            <a:r>
              <a:rPr lang="sv-SE" dirty="0"/>
              <a:t>2022-05-20</a:t>
            </a:r>
          </a:p>
        </p:txBody>
      </p:sp>
    </p:spTree>
    <p:extLst>
      <p:ext uri="{BB962C8B-B14F-4D97-AF65-F5344CB8AC3E}">
        <p14:creationId xmlns:p14="http://schemas.microsoft.com/office/powerpoint/2010/main" val="29745789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A1BC99B-6D77-4918-9B24-3C983FF9F5DC}"/>
              </a:ext>
            </a:extLst>
          </p:cNvPr>
          <p:cNvSpPr>
            <a:spLocks noGrp="1"/>
          </p:cNvSpPr>
          <p:nvPr>
            <p:ph type="title"/>
          </p:nvPr>
        </p:nvSpPr>
        <p:spPr/>
        <p:txBody>
          <a:bodyPr/>
          <a:lstStyle/>
          <a:p>
            <a:r>
              <a:rPr lang="sv-SE" dirty="0"/>
              <a:t>Användarupplevelsen</a:t>
            </a:r>
          </a:p>
        </p:txBody>
      </p:sp>
      <p:sp>
        <p:nvSpPr>
          <p:cNvPr id="4" name="Platshållare för sidfot 3">
            <a:extLst>
              <a:ext uri="{FF2B5EF4-FFF2-40B4-BE49-F238E27FC236}">
                <a16:creationId xmlns:a16="http://schemas.microsoft.com/office/drawing/2014/main" id="{E639787C-91D0-40AA-B279-D5117A0D224C}"/>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F91C37D-0D2F-4377-BADE-3C5D9930F120}"/>
              </a:ext>
            </a:extLst>
          </p:cNvPr>
          <p:cNvSpPr>
            <a:spLocks noGrp="1"/>
          </p:cNvSpPr>
          <p:nvPr>
            <p:ph type="sldNum" sz="quarter" idx="12"/>
          </p:nvPr>
        </p:nvSpPr>
        <p:spPr/>
        <p:txBody>
          <a:bodyPr/>
          <a:lstStyle/>
          <a:p>
            <a:fld id="{7FF155A8-5C6D-4241-95DF-81E4F2B16EE5}" type="slidenum">
              <a:rPr lang="sv-SE" smtClean="0"/>
              <a:t>10</a:t>
            </a:fld>
            <a:endParaRPr lang="sv-SE"/>
          </a:p>
        </p:txBody>
      </p:sp>
      <p:graphicFrame>
        <p:nvGraphicFramePr>
          <p:cNvPr id="7" name="Diagram 6">
            <a:extLst>
              <a:ext uri="{FF2B5EF4-FFF2-40B4-BE49-F238E27FC236}">
                <a16:creationId xmlns:a16="http://schemas.microsoft.com/office/drawing/2014/main" id="{D76284E6-AA45-4FB1-9FF9-06430773188D}"/>
              </a:ext>
            </a:extLst>
          </p:cNvPr>
          <p:cNvGraphicFramePr>
            <a:graphicFrameLocks/>
          </p:cNvGraphicFramePr>
          <p:nvPr/>
        </p:nvGraphicFramePr>
        <p:xfrm>
          <a:off x="1778911" y="1233485"/>
          <a:ext cx="7938628" cy="484519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ruta 7">
            <a:extLst>
              <a:ext uri="{FF2B5EF4-FFF2-40B4-BE49-F238E27FC236}">
                <a16:creationId xmlns:a16="http://schemas.microsoft.com/office/drawing/2014/main" id="{FD5FD143-519E-47B9-BCFC-371B43106240}"/>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spTree>
    <p:extLst>
      <p:ext uri="{BB962C8B-B14F-4D97-AF65-F5344CB8AC3E}">
        <p14:creationId xmlns:p14="http://schemas.microsoft.com/office/powerpoint/2010/main" val="422492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FE063E-F09B-4DC0-BCD6-C2091133BF85}"/>
              </a:ext>
            </a:extLst>
          </p:cNvPr>
          <p:cNvSpPr>
            <a:spLocks noGrp="1"/>
          </p:cNvSpPr>
          <p:nvPr>
            <p:ph type="title"/>
          </p:nvPr>
        </p:nvSpPr>
        <p:spPr/>
        <p:txBody>
          <a:bodyPr/>
          <a:lstStyle/>
          <a:p>
            <a:r>
              <a:rPr lang="sv-SE" dirty="0"/>
              <a:t>Rekommendation</a:t>
            </a:r>
          </a:p>
        </p:txBody>
      </p:sp>
      <p:sp>
        <p:nvSpPr>
          <p:cNvPr id="4" name="Platshållare för sidfot 3">
            <a:extLst>
              <a:ext uri="{FF2B5EF4-FFF2-40B4-BE49-F238E27FC236}">
                <a16:creationId xmlns:a16="http://schemas.microsoft.com/office/drawing/2014/main" id="{B1F9E29B-24C4-43FC-B1CB-41B92C9AC3A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0AFC695D-F4A1-40D5-955C-30D41B3B11D3}"/>
              </a:ext>
            </a:extLst>
          </p:cNvPr>
          <p:cNvSpPr>
            <a:spLocks noGrp="1"/>
          </p:cNvSpPr>
          <p:nvPr>
            <p:ph type="sldNum" sz="quarter" idx="12"/>
          </p:nvPr>
        </p:nvSpPr>
        <p:spPr/>
        <p:txBody>
          <a:bodyPr/>
          <a:lstStyle/>
          <a:p>
            <a:fld id="{7FF155A8-5C6D-4241-95DF-81E4F2B16EE5}" type="slidenum">
              <a:rPr lang="sv-SE" smtClean="0"/>
              <a:t>11</a:t>
            </a:fld>
            <a:endParaRPr lang="sv-SE"/>
          </a:p>
        </p:txBody>
      </p:sp>
      <p:sp>
        <p:nvSpPr>
          <p:cNvPr id="12" name="textruta 11">
            <a:extLst>
              <a:ext uri="{FF2B5EF4-FFF2-40B4-BE49-F238E27FC236}">
                <a16:creationId xmlns:a16="http://schemas.microsoft.com/office/drawing/2014/main" id="{CB2729CE-CC20-4581-B657-7912170B5ED6}"/>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graphicFrame>
        <p:nvGraphicFramePr>
          <p:cNvPr id="10" name="Diagram 9">
            <a:extLst>
              <a:ext uri="{FF2B5EF4-FFF2-40B4-BE49-F238E27FC236}">
                <a16:creationId xmlns:a16="http://schemas.microsoft.com/office/drawing/2014/main" id="{0258A02D-8C38-477D-9431-B484856031DA}"/>
              </a:ext>
            </a:extLst>
          </p:cNvPr>
          <p:cNvGraphicFramePr>
            <a:graphicFrameLocks/>
          </p:cNvGraphicFramePr>
          <p:nvPr/>
        </p:nvGraphicFramePr>
        <p:xfrm>
          <a:off x="1843016" y="1233485"/>
          <a:ext cx="7783567" cy="484322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5931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FE063E-F09B-4DC0-BCD6-C2091133BF85}"/>
              </a:ext>
            </a:extLst>
          </p:cNvPr>
          <p:cNvSpPr>
            <a:spLocks noGrp="1"/>
          </p:cNvSpPr>
          <p:nvPr>
            <p:ph type="title"/>
          </p:nvPr>
        </p:nvSpPr>
        <p:spPr/>
        <p:txBody>
          <a:bodyPr/>
          <a:lstStyle/>
          <a:p>
            <a:r>
              <a:rPr lang="sv-SE" dirty="0"/>
              <a:t>Det totala NKI-värdet</a:t>
            </a:r>
          </a:p>
        </p:txBody>
      </p:sp>
      <p:sp>
        <p:nvSpPr>
          <p:cNvPr id="4" name="Platshållare för sidfot 3">
            <a:extLst>
              <a:ext uri="{FF2B5EF4-FFF2-40B4-BE49-F238E27FC236}">
                <a16:creationId xmlns:a16="http://schemas.microsoft.com/office/drawing/2014/main" id="{B1F9E29B-24C4-43FC-B1CB-41B92C9AC3A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0AFC695D-F4A1-40D5-955C-30D41B3B11D3}"/>
              </a:ext>
            </a:extLst>
          </p:cNvPr>
          <p:cNvSpPr>
            <a:spLocks noGrp="1"/>
          </p:cNvSpPr>
          <p:nvPr>
            <p:ph type="sldNum" sz="quarter" idx="12"/>
          </p:nvPr>
        </p:nvSpPr>
        <p:spPr/>
        <p:txBody>
          <a:bodyPr/>
          <a:lstStyle/>
          <a:p>
            <a:fld id="{7FF155A8-5C6D-4241-95DF-81E4F2B16EE5}" type="slidenum">
              <a:rPr lang="sv-SE" smtClean="0"/>
              <a:t>12</a:t>
            </a:fld>
            <a:endParaRPr lang="sv-SE"/>
          </a:p>
        </p:txBody>
      </p:sp>
      <p:pic>
        <p:nvPicPr>
          <p:cNvPr id="8" name="Bildobjekt 7">
            <a:extLst>
              <a:ext uri="{FF2B5EF4-FFF2-40B4-BE49-F238E27FC236}">
                <a16:creationId xmlns:a16="http://schemas.microsoft.com/office/drawing/2014/main" id="{8895148B-EF8A-4A64-B8A5-8A650C43F0E9}"/>
              </a:ext>
            </a:extLst>
          </p:cNvPr>
          <p:cNvPicPr>
            <a:picLocks noChangeAspect="1"/>
          </p:cNvPicPr>
          <p:nvPr/>
        </p:nvPicPr>
        <p:blipFill>
          <a:blip r:embed="rId2"/>
          <a:stretch>
            <a:fillRect/>
          </a:stretch>
        </p:blipFill>
        <p:spPr>
          <a:xfrm>
            <a:off x="9290785" y="1662949"/>
            <a:ext cx="2556585" cy="2716042"/>
          </a:xfrm>
          <a:prstGeom prst="rect">
            <a:avLst/>
          </a:prstGeom>
          <a:solidFill>
            <a:srgbClr val="FFFFFF">
              <a:shade val="85000"/>
            </a:srgbClr>
          </a:solidFill>
          <a:ln w="190500" cap="sq">
            <a:no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9" name="Ellips 8">
            <a:extLst>
              <a:ext uri="{FF2B5EF4-FFF2-40B4-BE49-F238E27FC236}">
                <a16:creationId xmlns:a16="http://schemas.microsoft.com/office/drawing/2014/main" id="{BC7052F9-73EB-445A-86CB-79B85AE354F1}"/>
              </a:ext>
            </a:extLst>
          </p:cNvPr>
          <p:cNvSpPr/>
          <p:nvPr/>
        </p:nvSpPr>
        <p:spPr>
          <a:xfrm>
            <a:off x="10171100" y="1444817"/>
            <a:ext cx="428247" cy="436263"/>
          </a:xfrm>
          <a:prstGeom prst="ellipse">
            <a:avLst/>
          </a:prstGeom>
          <a:solidFill>
            <a:schemeClr val="accent3">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Platshållare för innehåll 2">
            <a:extLst>
              <a:ext uri="{FF2B5EF4-FFF2-40B4-BE49-F238E27FC236}">
                <a16:creationId xmlns:a16="http://schemas.microsoft.com/office/drawing/2014/main" id="{D107BF9C-3075-4A13-B170-A378E6CB60C9}"/>
              </a:ext>
            </a:extLst>
          </p:cNvPr>
          <p:cNvSpPr txBox="1">
            <a:spLocks/>
          </p:cNvSpPr>
          <p:nvPr/>
        </p:nvSpPr>
        <p:spPr>
          <a:xfrm rot="21213739">
            <a:off x="9528571" y="2314603"/>
            <a:ext cx="2081011" cy="1841296"/>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buFont typeface="Wingdings" panose="05000000000000000000" pitchFamily="2" charset="2"/>
              <a:buChar char="Ø"/>
            </a:pPr>
            <a:r>
              <a:rPr lang="sv-SE" sz="1800" dirty="0">
                <a:solidFill>
                  <a:schemeClr val="tx1"/>
                </a:solidFill>
                <a:latin typeface="Candara" panose="020E0502030303020204" pitchFamily="34" charset="0"/>
              </a:rPr>
              <a:t>Mobilanvändandet har ökat kraftigt sedan 2016!</a:t>
            </a:r>
          </a:p>
          <a:p>
            <a:pPr algn="ctr">
              <a:buFont typeface="Wingdings" panose="05000000000000000000" pitchFamily="2" charset="2"/>
              <a:buChar char="Ø"/>
            </a:pPr>
            <a:r>
              <a:rPr lang="sv-SE" sz="1800" dirty="0">
                <a:solidFill>
                  <a:schemeClr val="tx1"/>
                </a:solidFill>
                <a:latin typeface="Candara" panose="020E0502030303020204" pitchFamily="34" charset="0"/>
              </a:rPr>
              <a:t>Påfrestande pandemi.  </a:t>
            </a:r>
          </a:p>
        </p:txBody>
      </p:sp>
      <p:sp>
        <p:nvSpPr>
          <p:cNvPr id="12" name="textruta 11">
            <a:extLst>
              <a:ext uri="{FF2B5EF4-FFF2-40B4-BE49-F238E27FC236}">
                <a16:creationId xmlns:a16="http://schemas.microsoft.com/office/drawing/2014/main" id="{CB2729CE-CC20-4581-B657-7912170B5ED6}"/>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graphicFrame>
        <p:nvGraphicFramePr>
          <p:cNvPr id="13" name="Diagram 12">
            <a:extLst>
              <a:ext uri="{FF2B5EF4-FFF2-40B4-BE49-F238E27FC236}">
                <a16:creationId xmlns:a16="http://schemas.microsoft.com/office/drawing/2014/main" id="{8FAB34B6-1532-41EB-9577-2A4F915CD513}"/>
              </a:ext>
            </a:extLst>
          </p:cNvPr>
          <p:cNvGraphicFramePr>
            <a:graphicFrameLocks/>
          </p:cNvGraphicFramePr>
          <p:nvPr>
            <p:extLst>
              <p:ext uri="{D42A27DB-BD31-4B8C-83A1-F6EECF244321}">
                <p14:modId xmlns:p14="http://schemas.microsoft.com/office/powerpoint/2010/main" val="3936739729"/>
              </p:ext>
            </p:extLst>
          </p:nvPr>
        </p:nvGraphicFramePr>
        <p:xfrm>
          <a:off x="1225414" y="1317333"/>
          <a:ext cx="7770940" cy="481635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60925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0609DC-73DB-4AAA-AB7F-1868A695E383}"/>
              </a:ext>
            </a:extLst>
          </p:cNvPr>
          <p:cNvSpPr>
            <a:spLocks noGrp="1"/>
          </p:cNvSpPr>
          <p:nvPr>
            <p:ph type="title"/>
          </p:nvPr>
        </p:nvSpPr>
        <p:spPr>
          <a:xfrm>
            <a:off x="874296" y="84221"/>
            <a:ext cx="10072630" cy="1149264"/>
          </a:xfrm>
        </p:spPr>
        <p:txBody>
          <a:bodyPr anchor="b">
            <a:normAutofit/>
          </a:bodyPr>
          <a:lstStyle/>
          <a:p>
            <a:r>
              <a:rPr lang="sv-SE" dirty="0"/>
              <a:t>Invånare: Fritextsvar</a:t>
            </a:r>
          </a:p>
        </p:txBody>
      </p:sp>
      <p:pic>
        <p:nvPicPr>
          <p:cNvPr id="8" name="Platshållare för innehåll 7">
            <a:extLst>
              <a:ext uri="{FF2B5EF4-FFF2-40B4-BE49-F238E27FC236}">
                <a16:creationId xmlns:a16="http://schemas.microsoft.com/office/drawing/2014/main" id="{717D4156-B74A-4140-9E9C-2B405124C8E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4009532" y="1519306"/>
            <a:ext cx="3061226" cy="3391941"/>
          </a:xfrm>
          <a:noFill/>
        </p:spPr>
      </p:pic>
      <p:sp>
        <p:nvSpPr>
          <p:cNvPr id="20" name="Footer Placeholder 3">
            <a:extLst>
              <a:ext uri="{FF2B5EF4-FFF2-40B4-BE49-F238E27FC236}">
                <a16:creationId xmlns:a16="http://schemas.microsoft.com/office/drawing/2014/main" id="{222C7352-B0EC-F07C-D7E4-332D9860E8DF}"/>
              </a:ext>
            </a:extLst>
          </p:cNvPr>
          <p:cNvSpPr>
            <a:spLocks noGrp="1"/>
          </p:cNvSpPr>
          <p:nvPr>
            <p:ph type="ftr" sz="quarter" idx="11"/>
          </p:nvPr>
        </p:nvSpPr>
        <p:spPr>
          <a:xfrm>
            <a:off x="711722" y="6311973"/>
            <a:ext cx="4114800" cy="365125"/>
          </a:xfrm>
        </p:spPr>
        <p:txBody>
          <a:bodyPr/>
          <a:lstStyle/>
          <a:p>
            <a:endParaRPr lang="sv-SE"/>
          </a:p>
        </p:txBody>
      </p:sp>
      <p:sp>
        <p:nvSpPr>
          <p:cNvPr id="5" name="Platshållare för bildnummer 4">
            <a:extLst>
              <a:ext uri="{FF2B5EF4-FFF2-40B4-BE49-F238E27FC236}">
                <a16:creationId xmlns:a16="http://schemas.microsoft.com/office/drawing/2014/main" id="{A3279711-542C-40F7-96B9-54F1F6807891}"/>
              </a:ext>
            </a:extLst>
          </p:cNvPr>
          <p:cNvSpPr>
            <a:spLocks noGrp="1"/>
          </p:cNvSpPr>
          <p:nvPr>
            <p:ph type="sldNum" sz="quarter" idx="12"/>
          </p:nvPr>
        </p:nvSpPr>
        <p:spPr>
          <a:xfrm>
            <a:off x="276721" y="6311994"/>
            <a:ext cx="390055" cy="365125"/>
          </a:xfrm>
        </p:spPr>
        <p:txBody>
          <a:bodyPr anchor="ctr">
            <a:normAutofit/>
          </a:bodyPr>
          <a:lstStyle/>
          <a:p>
            <a:pPr>
              <a:spcAft>
                <a:spcPts val="600"/>
              </a:spcAft>
            </a:pPr>
            <a:fld id="{7FF155A8-5C6D-4241-95DF-81E4F2B16EE5}" type="slidenum">
              <a:rPr lang="sv-SE" smtClean="0"/>
              <a:pPr>
                <a:spcAft>
                  <a:spcPts val="600"/>
                </a:spcAft>
              </a:pPr>
              <a:t>13</a:t>
            </a:fld>
            <a:endParaRPr lang="sv-SE"/>
          </a:p>
        </p:txBody>
      </p:sp>
      <p:sp>
        <p:nvSpPr>
          <p:cNvPr id="6" name="Platshållare för innehåll 2">
            <a:extLst>
              <a:ext uri="{FF2B5EF4-FFF2-40B4-BE49-F238E27FC236}">
                <a16:creationId xmlns:a16="http://schemas.microsoft.com/office/drawing/2014/main" id="{C8AACFA3-9064-4721-8972-38C3FB9E2529}"/>
              </a:ext>
            </a:extLst>
          </p:cNvPr>
          <p:cNvSpPr txBox="1">
            <a:spLocks/>
          </p:cNvSpPr>
          <p:nvPr/>
        </p:nvSpPr>
        <p:spPr>
          <a:xfrm>
            <a:off x="993857" y="5197068"/>
            <a:ext cx="10204285" cy="615361"/>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v-SE" sz="2000" dirty="0"/>
              <a:t>Har du några förslag på hur vi kan förbättra stöd och behandlings-tjänsterna?</a:t>
            </a:r>
          </a:p>
        </p:txBody>
      </p:sp>
    </p:spTree>
    <p:extLst>
      <p:ext uri="{BB962C8B-B14F-4D97-AF65-F5344CB8AC3E}">
        <p14:creationId xmlns:p14="http://schemas.microsoft.com/office/powerpoint/2010/main" val="27111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6C6F002-6A71-40D7-87C2-3B41B8F04C6D}"/>
              </a:ext>
            </a:extLst>
          </p:cNvPr>
          <p:cNvSpPr>
            <a:spLocks noGrp="1"/>
          </p:cNvSpPr>
          <p:nvPr>
            <p:ph type="title"/>
          </p:nvPr>
        </p:nvSpPr>
        <p:spPr>
          <a:xfrm>
            <a:off x="812132" y="405669"/>
            <a:ext cx="10567736" cy="1149264"/>
          </a:xfrm>
        </p:spPr>
        <p:txBody>
          <a:bodyPr/>
          <a:lstStyle/>
          <a:p>
            <a:r>
              <a:rPr lang="sv-SE" dirty="0"/>
              <a:t>Vad tar den nationella förvaltningen med sig av svaren?</a:t>
            </a:r>
            <a:br>
              <a:rPr lang="sv-SE" dirty="0"/>
            </a:br>
            <a:br>
              <a:rPr lang="sv-SE" dirty="0"/>
            </a:br>
            <a:endParaRPr lang="sv-SE" dirty="0"/>
          </a:p>
        </p:txBody>
      </p:sp>
      <p:sp>
        <p:nvSpPr>
          <p:cNvPr id="3" name="Platshållare för innehåll 2">
            <a:extLst>
              <a:ext uri="{FF2B5EF4-FFF2-40B4-BE49-F238E27FC236}">
                <a16:creationId xmlns:a16="http://schemas.microsoft.com/office/drawing/2014/main" id="{3D3F8FDD-22A7-465B-BABC-5ABFD28DC497}"/>
              </a:ext>
            </a:extLst>
          </p:cNvPr>
          <p:cNvSpPr>
            <a:spLocks noGrp="1"/>
          </p:cNvSpPr>
          <p:nvPr>
            <p:ph idx="1"/>
          </p:nvPr>
        </p:nvSpPr>
        <p:spPr>
          <a:xfrm>
            <a:off x="922424" y="1764711"/>
            <a:ext cx="5919810" cy="3564527"/>
          </a:xfrm>
        </p:spPr>
        <p:txBody>
          <a:bodyPr/>
          <a:lstStyle/>
          <a:p>
            <a:r>
              <a:rPr lang="sv-SE" dirty="0"/>
              <a:t>Meddelandefunktionen</a:t>
            </a:r>
          </a:p>
          <a:p>
            <a:r>
              <a:rPr lang="sv-SE" dirty="0"/>
              <a:t>Navigera i moment </a:t>
            </a:r>
          </a:p>
          <a:p>
            <a:r>
              <a:rPr lang="sv-SE" dirty="0"/>
              <a:t>Små enheter (</a:t>
            </a:r>
            <a:r>
              <a:rPr lang="sv-SE" dirty="0" err="1"/>
              <a:t>mobilvy</a:t>
            </a:r>
            <a:r>
              <a:rPr lang="sv-SE" dirty="0"/>
              <a:t>)</a:t>
            </a:r>
          </a:p>
          <a:p>
            <a:r>
              <a:rPr lang="sv-SE" dirty="0"/>
              <a:t>Övrigt</a:t>
            </a:r>
          </a:p>
        </p:txBody>
      </p:sp>
      <p:sp>
        <p:nvSpPr>
          <p:cNvPr id="4" name="Platshållare för sidfot 3">
            <a:extLst>
              <a:ext uri="{FF2B5EF4-FFF2-40B4-BE49-F238E27FC236}">
                <a16:creationId xmlns:a16="http://schemas.microsoft.com/office/drawing/2014/main" id="{47E1F7E6-E024-4866-92FB-24F27CF13BD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16F93BC0-5CDE-4A6B-8DD1-E657BD50B88A}"/>
              </a:ext>
            </a:extLst>
          </p:cNvPr>
          <p:cNvSpPr>
            <a:spLocks noGrp="1"/>
          </p:cNvSpPr>
          <p:nvPr>
            <p:ph type="sldNum" sz="quarter" idx="12"/>
          </p:nvPr>
        </p:nvSpPr>
        <p:spPr/>
        <p:txBody>
          <a:bodyPr/>
          <a:lstStyle/>
          <a:p>
            <a:fld id="{7FF155A8-5C6D-4241-95DF-81E4F2B16EE5}" type="slidenum">
              <a:rPr lang="sv-SE" smtClean="0"/>
              <a:t>14</a:t>
            </a:fld>
            <a:endParaRPr lang="sv-SE"/>
          </a:p>
        </p:txBody>
      </p:sp>
      <p:pic>
        <p:nvPicPr>
          <p:cNvPr id="7" name="Platshållare för innehåll 13">
            <a:extLst>
              <a:ext uri="{FF2B5EF4-FFF2-40B4-BE49-F238E27FC236}">
                <a16:creationId xmlns:a16="http://schemas.microsoft.com/office/drawing/2014/main" id="{850E5139-2761-4A80-9D98-6A4DC2A0CA18}"/>
              </a:ext>
            </a:extLst>
          </p:cNvPr>
          <p:cNvPicPr>
            <a:picLocks noChangeAspect="1"/>
          </p:cNvPicPr>
          <p:nvPr/>
        </p:nvPicPr>
        <p:blipFill rotWithShape="1">
          <a:blip r:embed="rId2">
            <a:extLst>
              <a:ext uri="{28A0092B-C50C-407E-A947-70E740481C1C}">
                <a14:useLocalDpi xmlns:a14="http://schemas.microsoft.com/office/drawing/2010/main" val="0"/>
              </a:ext>
            </a:extLst>
          </a:blip>
          <a:stretch/>
        </p:blipFill>
        <p:spPr>
          <a:xfrm>
            <a:off x="6842234" y="1554933"/>
            <a:ext cx="4314097" cy="3160076"/>
          </a:xfrm>
          <a:prstGeom prst="roundRect">
            <a:avLst>
              <a:gd name="adj" fmla="val 1369"/>
            </a:avLst>
          </a:prstGeom>
          <a:noFill/>
        </p:spPr>
      </p:pic>
    </p:spTree>
    <p:extLst>
      <p:ext uri="{BB962C8B-B14F-4D97-AF65-F5344CB8AC3E}">
        <p14:creationId xmlns:p14="http://schemas.microsoft.com/office/powerpoint/2010/main" val="4237240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DB9351F-5C6C-4A1E-81BE-59FAB8FC65C4}"/>
              </a:ext>
            </a:extLst>
          </p:cNvPr>
          <p:cNvSpPr>
            <a:spLocks noGrp="1"/>
          </p:cNvSpPr>
          <p:nvPr>
            <p:ph type="title"/>
          </p:nvPr>
        </p:nvSpPr>
        <p:spPr/>
        <p:txBody>
          <a:bodyPr/>
          <a:lstStyle/>
          <a:p>
            <a:r>
              <a:rPr lang="sv-SE" dirty="0"/>
              <a:t>Meddelande</a:t>
            </a:r>
          </a:p>
        </p:txBody>
      </p:sp>
      <p:sp>
        <p:nvSpPr>
          <p:cNvPr id="3" name="Platshållare för innehåll 2">
            <a:extLst>
              <a:ext uri="{FF2B5EF4-FFF2-40B4-BE49-F238E27FC236}">
                <a16:creationId xmlns:a16="http://schemas.microsoft.com/office/drawing/2014/main" id="{2316F00E-E72C-4DE6-8D97-09CF59E27953}"/>
              </a:ext>
            </a:extLst>
          </p:cNvPr>
          <p:cNvSpPr>
            <a:spLocks noGrp="1"/>
          </p:cNvSpPr>
          <p:nvPr>
            <p:ph idx="1"/>
          </p:nvPr>
        </p:nvSpPr>
        <p:spPr/>
        <p:txBody>
          <a:bodyPr/>
          <a:lstStyle/>
          <a:p>
            <a:r>
              <a:rPr lang="sv-SE" sz="1800" b="0" u="none" dirty="0"/>
              <a:t>Oklar ordning</a:t>
            </a:r>
            <a:r>
              <a:rPr lang="sv-SE" sz="1800" b="0" u="none" baseline="0" dirty="0"/>
              <a:t> på meddelanden, önskar att ha omvänd ordning. Det vill säga inte äldsta först som i sms utan det senaste först som i exempelvis </a:t>
            </a:r>
            <a:r>
              <a:rPr lang="sv-SE" sz="1800" b="0" u="none" baseline="0" dirty="0" err="1"/>
              <a:t>outlook</a:t>
            </a:r>
            <a:r>
              <a:rPr lang="sv-SE" sz="1800" b="0" u="none" baseline="0" dirty="0"/>
              <a:t>.</a:t>
            </a:r>
          </a:p>
          <a:p>
            <a:r>
              <a:rPr lang="sv-SE" sz="1800" b="0" u="none" baseline="0" dirty="0"/>
              <a:t>Svårt att se vilka meddelanden som är nya.</a:t>
            </a:r>
            <a:endParaRPr lang="sv-SE" sz="1800" b="0" u="none" dirty="0"/>
          </a:p>
          <a:p>
            <a:r>
              <a:rPr lang="sv-SE" sz="1800" b="0" u="none" baseline="0" dirty="0"/>
              <a:t>Svårt att hitta till meddelanden (gissningsvis är det mobilanvändarna som anser det).</a:t>
            </a:r>
          </a:p>
          <a:p>
            <a:r>
              <a:rPr lang="sv-SE" sz="1800" b="0" u="none" baseline="0" dirty="0"/>
              <a:t>Mycket klickande för att komma till meddelanden (gissningsvis är det mobilanvändarna som anser det).</a:t>
            </a:r>
          </a:p>
          <a:p>
            <a:endParaRPr lang="sv-SE" dirty="0"/>
          </a:p>
        </p:txBody>
      </p:sp>
      <p:sp>
        <p:nvSpPr>
          <p:cNvPr id="4" name="Platshållare för sidfot 3">
            <a:extLst>
              <a:ext uri="{FF2B5EF4-FFF2-40B4-BE49-F238E27FC236}">
                <a16:creationId xmlns:a16="http://schemas.microsoft.com/office/drawing/2014/main" id="{EE3D23B2-9165-4D66-BE52-692728266676}"/>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BBB3FDC-DD70-4C96-8969-425F52311882}"/>
              </a:ext>
            </a:extLst>
          </p:cNvPr>
          <p:cNvSpPr>
            <a:spLocks noGrp="1"/>
          </p:cNvSpPr>
          <p:nvPr>
            <p:ph type="sldNum" sz="quarter" idx="12"/>
          </p:nvPr>
        </p:nvSpPr>
        <p:spPr/>
        <p:txBody>
          <a:bodyPr/>
          <a:lstStyle/>
          <a:p>
            <a:fld id="{7FF155A8-5C6D-4241-95DF-81E4F2B16EE5}" type="slidenum">
              <a:rPr lang="sv-SE" smtClean="0"/>
              <a:t>15</a:t>
            </a:fld>
            <a:endParaRPr lang="sv-SE"/>
          </a:p>
        </p:txBody>
      </p:sp>
      <p:pic>
        <p:nvPicPr>
          <p:cNvPr id="12" name="Bildobjekt 11" descr="En bild som visar inomhus&#10;&#10;Automatiskt genererad beskrivning">
            <a:extLst>
              <a:ext uri="{FF2B5EF4-FFF2-40B4-BE49-F238E27FC236}">
                <a16:creationId xmlns:a16="http://schemas.microsoft.com/office/drawing/2014/main" id="{50043DD9-175F-4ECF-9BB0-DD6C8A14FC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0944" y="386590"/>
            <a:ext cx="2715765" cy="5431530"/>
          </a:xfrm>
          <a:prstGeom prst="rect">
            <a:avLst/>
          </a:prstGeom>
        </p:spPr>
      </p:pic>
      <p:pic>
        <p:nvPicPr>
          <p:cNvPr id="7" name="Bildobjekt 6">
            <a:extLst>
              <a:ext uri="{FF2B5EF4-FFF2-40B4-BE49-F238E27FC236}">
                <a16:creationId xmlns:a16="http://schemas.microsoft.com/office/drawing/2014/main" id="{48495B9B-ABC2-4B15-96AC-5E86A46B8762}"/>
              </a:ext>
            </a:extLst>
          </p:cNvPr>
          <p:cNvPicPr>
            <a:picLocks noChangeAspect="1"/>
          </p:cNvPicPr>
          <p:nvPr/>
        </p:nvPicPr>
        <p:blipFill>
          <a:blip r:embed="rId3"/>
          <a:stretch>
            <a:fillRect/>
          </a:stretch>
        </p:blipFill>
        <p:spPr>
          <a:xfrm>
            <a:off x="94433" y="4730719"/>
            <a:ext cx="9096375" cy="1076325"/>
          </a:xfrm>
          <a:prstGeom prst="rect">
            <a:avLst/>
          </a:prstGeom>
        </p:spPr>
      </p:pic>
      <p:sp>
        <p:nvSpPr>
          <p:cNvPr id="9" name="textruta 8">
            <a:extLst>
              <a:ext uri="{FF2B5EF4-FFF2-40B4-BE49-F238E27FC236}">
                <a16:creationId xmlns:a16="http://schemas.microsoft.com/office/drawing/2014/main" id="{2A490390-3A95-44C0-9309-DE2C3322B4A3}"/>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spTree>
    <p:extLst>
      <p:ext uri="{BB962C8B-B14F-4D97-AF65-F5344CB8AC3E}">
        <p14:creationId xmlns:p14="http://schemas.microsoft.com/office/powerpoint/2010/main" val="3531919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53C2B74-3649-43AB-A1F9-AAE0C5631C3C}"/>
              </a:ext>
            </a:extLst>
          </p:cNvPr>
          <p:cNvSpPr>
            <a:spLocks noGrp="1"/>
          </p:cNvSpPr>
          <p:nvPr>
            <p:ph type="title"/>
          </p:nvPr>
        </p:nvSpPr>
        <p:spPr/>
        <p:txBody>
          <a:bodyPr/>
          <a:lstStyle/>
          <a:p>
            <a:r>
              <a:rPr lang="sv-SE" dirty="0"/>
              <a:t>Navigera i moment </a:t>
            </a:r>
            <a:br>
              <a:rPr lang="sv-SE" dirty="0"/>
            </a:br>
            <a:endParaRPr lang="sv-SE" dirty="0"/>
          </a:p>
        </p:txBody>
      </p:sp>
      <p:sp>
        <p:nvSpPr>
          <p:cNvPr id="3" name="Platshållare för innehåll 2">
            <a:extLst>
              <a:ext uri="{FF2B5EF4-FFF2-40B4-BE49-F238E27FC236}">
                <a16:creationId xmlns:a16="http://schemas.microsoft.com/office/drawing/2014/main" id="{BC2FD2BD-911D-4319-80A3-FD6ACC6B0910}"/>
              </a:ext>
            </a:extLst>
          </p:cNvPr>
          <p:cNvSpPr>
            <a:spLocks noGrp="1"/>
          </p:cNvSpPr>
          <p:nvPr>
            <p:ph idx="1"/>
          </p:nvPr>
        </p:nvSpPr>
        <p:spPr/>
        <p:txBody>
          <a:bodyPr/>
          <a:lstStyle/>
          <a:p>
            <a:r>
              <a:rPr lang="sv-SE" sz="1800" b="0" u="none" dirty="0"/>
              <a:t>Upplevs rörig, mycket fram och tillbaka. </a:t>
            </a:r>
          </a:p>
          <a:p>
            <a:r>
              <a:rPr lang="sv-SE" sz="1800" b="0" u="none" dirty="0"/>
              <a:t>Många klick för att nå dit man vill.</a:t>
            </a:r>
          </a:p>
          <a:p>
            <a:r>
              <a:rPr lang="sv-SE" sz="1800" b="0" u="none" dirty="0"/>
              <a:t>Mycket scrollande.</a:t>
            </a:r>
          </a:p>
          <a:p>
            <a:r>
              <a:rPr lang="sv-SE" sz="1800" b="0" u="none" dirty="0"/>
              <a:t>Ej överskådlig layout, upplevs plottrig. </a:t>
            </a:r>
          </a:p>
          <a:p>
            <a:endParaRPr lang="sv-SE" dirty="0"/>
          </a:p>
        </p:txBody>
      </p:sp>
      <p:sp>
        <p:nvSpPr>
          <p:cNvPr id="4" name="Platshållare för sidfot 3">
            <a:extLst>
              <a:ext uri="{FF2B5EF4-FFF2-40B4-BE49-F238E27FC236}">
                <a16:creationId xmlns:a16="http://schemas.microsoft.com/office/drawing/2014/main" id="{B4A8F590-42B0-46E6-ADF9-85F1ECC73FA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C2C6BF6E-7F78-41AA-B55B-116899C303BE}"/>
              </a:ext>
            </a:extLst>
          </p:cNvPr>
          <p:cNvSpPr>
            <a:spLocks noGrp="1"/>
          </p:cNvSpPr>
          <p:nvPr>
            <p:ph type="sldNum" sz="quarter" idx="12"/>
          </p:nvPr>
        </p:nvSpPr>
        <p:spPr/>
        <p:txBody>
          <a:bodyPr/>
          <a:lstStyle/>
          <a:p>
            <a:fld id="{7FF155A8-5C6D-4241-95DF-81E4F2B16EE5}" type="slidenum">
              <a:rPr lang="sv-SE" smtClean="0"/>
              <a:t>16</a:t>
            </a:fld>
            <a:endParaRPr lang="sv-SE"/>
          </a:p>
        </p:txBody>
      </p:sp>
      <p:pic>
        <p:nvPicPr>
          <p:cNvPr id="8" name="Bildobjekt 7">
            <a:extLst>
              <a:ext uri="{FF2B5EF4-FFF2-40B4-BE49-F238E27FC236}">
                <a16:creationId xmlns:a16="http://schemas.microsoft.com/office/drawing/2014/main" id="{187FE598-CC1B-4195-8C59-C77735C3D9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50875" y="789396"/>
            <a:ext cx="4712389" cy="4601942"/>
          </a:xfrm>
          <a:prstGeom prst="rect">
            <a:avLst/>
          </a:prstGeom>
        </p:spPr>
      </p:pic>
    </p:spTree>
    <p:extLst>
      <p:ext uri="{BB962C8B-B14F-4D97-AF65-F5344CB8AC3E}">
        <p14:creationId xmlns:p14="http://schemas.microsoft.com/office/powerpoint/2010/main" val="1339297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368702E-A521-47D5-BD36-1559C8D22EBD}"/>
              </a:ext>
            </a:extLst>
          </p:cNvPr>
          <p:cNvSpPr>
            <a:spLocks noGrp="1"/>
          </p:cNvSpPr>
          <p:nvPr>
            <p:ph type="title"/>
          </p:nvPr>
        </p:nvSpPr>
        <p:spPr/>
        <p:txBody>
          <a:bodyPr/>
          <a:lstStyle/>
          <a:p>
            <a:r>
              <a:rPr lang="sv-SE" dirty="0"/>
              <a:t>Små enheter (</a:t>
            </a:r>
            <a:r>
              <a:rPr lang="sv-SE" dirty="0" err="1"/>
              <a:t>mobilvy</a:t>
            </a:r>
            <a:r>
              <a:rPr lang="sv-SE" dirty="0"/>
              <a:t>)</a:t>
            </a:r>
            <a:br>
              <a:rPr lang="sv-SE" dirty="0"/>
            </a:br>
            <a:endParaRPr lang="sv-SE" dirty="0"/>
          </a:p>
        </p:txBody>
      </p:sp>
      <p:sp>
        <p:nvSpPr>
          <p:cNvPr id="3" name="Platshållare för innehåll 2">
            <a:extLst>
              <a:ext uri="{FF2B5EF4-FFF2-40B4-BE49-F238E27FC236}">
                <a16:creationId xmlns:a16="http://schemas.microsoft.com/office/drawing/2014/main" id="{839C2219-9919-4376-9237-D29AEAA7C744}"/>
              </a:ext>
            </a:extLst>
          </p:cNvPr>
          <p:cNvSpPr>
            <a:spLocks noGrp="1"/>
          </p:cNvSpPr>
          <p:nvPr>
            <p:ph idx="1"/>
          </p:nvPr>
        </p:nvSpPr>
        <p:spPr/>
        <p:txBody>
          <a:bodyPr/>
          <a:lstStyle/>
          <a:p>
            <a:r>
              <a:rPr lang="sv-SE" sz="1800" b="0" u="none" dirty="0"/>
              <a:t>Formulär/uppgifter svåra att fylla i på små skärmar.</a:t>
            </a:r>
          </a:p>
          <a:p>
            <a:r>
              <a:rPr lang="sv-SE" sz="1800" b="0" u="none" baseline="0" dirty="0"/>
              <a:t>Svårt att navigera på mobilen.</a:t>
            </a:r>
          </a:p>
          <a:p>
            <a:r>
              <a:rPr lang="sv-SE" sz="1800" b="0" u="none" baseline="0" dirty="0"/>
              <a:t>Se kommentarerna om Navigera i moment.</a:t>
            </a:r>
            <a:endParaRPr lang="sv-SE" sz="1800" b="0" u="none" dirty="0"/>
          </a:p>
          <a:p>
            <a:endParaRPr lang="sv-SE" dirty="0"/>
          </a:p>
        </p:txBody>
      </p:sp>
      <p:sp>
        <p:nvSpPr>
          <p:cNvPr id="4" name="Platshållare för sidfot 3">
            <a:extLst>
              <a:ext uri="{FF2B5EF4-FFF2-40B4-BE49-F238E27FC236}">
                <a16:creationId xmlns:a16="http://schemas.microsoft.com/office/drawing/2014/main" id="{B848CBE5-9F49-4246-9D4A-28EBF9612E4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2B3E5EEC-30AD-4554-91B5-BD47144B641D}"/>
              </a:ext>
            </a:extLst>
          </p:cNvPr>
          <p:cNvSpPr>
            <a:spLocks noGrp="1"/>
          </p:cNvSpPr>
          <p:nvPr>
            <p:ph type="sldNum" sz="quarter" idx="12"/>
          </p:nvPr>
        </p:nvSpPr>
        <p:spPr/>
        <p:txBody>
          <a:bodyPr/>
          <a:lstStyle/>
          <a:p>
            <a:fld id="{7FF155A8-5C6D-4241-95DF-81E4F2B16EE5}" type="slidenum">
              <a:rPr lang="sv-SE" smtClean="0"/>
              <a:t>17</a:t>
            </a:fld>
            <a:endParaRPr lang="sv-SE"/>
          </a:p>
        </p:txBody>
      </p:sp>
      <p:pic>
        <p:nvPicPr>
          <p:cNvPr id="8" name="Platshållare för bild 7" descr="En bild som visar text&#10;&#10;Automatiskt genererad beskrivning">
            <a:extLst>
              <a:ext uri="{FF2B5EF4-FFF2-40B4-BE49-F238E27FC236}">
                <a16:creationId xmlns:a16="http://schemas.microsoft.com/office/drawing/2014/main" id="{129B3F22-067B-46F9-BDF4-759962223520}"/>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0245" r="10245"/>
          <a:stretch>
            <a:fillRect/>
          </a:stretch>
        </p:blipFill>
        <p:spPr/>
      </p:pic>
    </p:spTree>
    <p:extLst>
      <p:ext uri="{BB962C8B-B14F-4D97-AF65-F5344CB8AC3E}">
        <p14:creationId xmlns:p14="http://schemas.microsoft.com/office/powerpoint/2010/main" val="264898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BF450C-8AEB-4CB0-9466-A930EE756CA5}"/>
              </a:ext>
            </a:extLst>
          </p:cNvPr>
          <p:cNvSpPr>
            <a:spLocks noGrp="1"/>
          </p:cNvSpPr>
          <p:nvPr>
            <p:ph type="title"/>
          </p:nvPr>
        </p:nvSpPr>
        <p:spPr/>
        <p:txBody>
          <a:bodyPr/>
          <a:lstStyle/>
          <a:p>
            <a:r>
              <a:rPr lang="sv-SE" dirty="0"/>
              <a:t>Övrigt</a:t>
            </a:r>
          </a:p>
        </p:txBody>
      </p:sp>
      <p:sp>
        <p:nvSpPr>
          <p:cNvPr id="3" name="Platshållare för innehåll 2">
            <a:extLst>
              <a:ext uri="{FF2B5EF4-FFF2-40B4-BE49-F238E27FC236}">
                <a16:creationId xmlns:a16="http://schemas.microsoft.com/office/drawing/2014/main" id="{DB06FA4C-B699-4001-8219-3038AF679D7D}"/>
              </a:ext>
            </a:extLst>
          </p:cNvPr>
          <p:cNvSpPr>
            <a:spLocks noGrp="1"/>
          </p:cNvSpPr>
          <p:nvPr>
            <p:ph idx="1"/>
          </p:nvPr>
        </p:nvSpPr>
        <p:spPr/>
        <p:txBody>
          <a:bodyPr/>
          <a:lstStyle/>
          <a:p>
            <a:r>
              <a:rPr lang="sv-SE" dirty="0"/>
              <a:t>Svårt att hitta på 1177, svårt att hitta till Stöd och behandling.</a:t>
            </a:r>
          </a:p>
          <a:p>
            <a:r>
              <a:rPr lang="sv-SE" dirty="0"/>
              <a:t>Krångligt att logga in, vill ha direkt inloggning till Stöd och behandling. </a:t>
            </a:r>
          </a:p>
          <a:p>
            <a:r>
              <a:rPr lang="sv-SE" dirty="0"/>
              <a:t>1177 </a:t>
            </a:r>
            <a:r>
              <a:rPr lang="sv-SE" dirty="0" err="1"/>
              <a:t>appen</a:t>
            </a:r>
            <a:r>
              <a:rPr lang="sv-SE" dirty="0"/>
              <a:t> upplevs inte som användarvänlig. </a:t>
            </a:r>
          </a:p>
          <a:p>
            <a:endParaRPr lang="sv-SE" dirty="0"/>
          </a:p>
        </p:txBody>
      </p:sp>
      <p:sp>
        <p:nvSpPr>
          <p:cNvPr id="4" name="Platshållare för sidfot 3">
            <a:extLst>
              <a:ext uri="{FF2B5EF4-FFF2-40B4-BE49-F238E27FC236}">
                <a16:creationId xmlns:a16="http://schemas.microsoft.com/office/drawing/2014/main" id="{1C95A3DE-9357-4DA1-84A7-F9DBCF93B107}"/>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39D963F-5540-4846-9672-AFFF77084D59}"/>
              </a:ext>
            </a:extLst>
          </p:cNvPr>
          <p:cNvSpPr>
            <a:spLocks noGrp="1"/>
          </p:cNvSpPr>
          <p:nvPr>
            <p:ph type="sldNum" sz="quarter" idx="12"/>
          </p:nvPr>
        </p:nvSpPr>
        <p:spPr/>
        <p:txBody>
          <a:bodyPr/>
          <a:lstStyle/>
          <a:p>
            <a:fld id="{7FF155A8-5C6D-4241-95DF-81E4F2B16EE5}" type="slidenum">
              <a:rPr lang="sv-SE" smtClean="0"/>
              <a:t>18</a:t>
            </a:fld>
            <a:endParaRPr lang="sv-SE"/>
          </a:p>
        </p:txBody>
      </p:sp>
      <p:pic>
        <p:nvPicPr>
          <p:cNvPr id="12" name="Bildobjekt 11" descr="En bild som visar text&#10;&#10;Automatiskt genererad beskrivning">
            <a:extLst>
              <a:ext uri="{FF2B5EF4-FFF2-40B4-BE49-F238E27FC236}">
                <a16:creationId xmlns:a16="http://schemas.microsoft.com/office/drawing/2014/main" id="{421CFFE8-3DC0-4453-BAE4-0132193D90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22614" y="1989120"/>
            <a:ext cx="6411324" cy="4022104"/>
          </a:xfrm>
          <a:prstGeom prst="rect">
            <a:avLst/>
          </a:prstGeom>
        </p:spPr>
      </p:pic>
    </p:spTree>
    <p:extLst>
      <p:ext uri="{BB962C8B-B14F-4D97-AF65-F5344CB8AC3E}">
        <p14:creationId xmlns:p14="http://schemas.microsoft.com/office/powerpoint/2010/main" val="3316934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6C6F002-6A71-40D7-87C2-3B41B8F04C6D}"/>
              </a:ext>
            </a:extLst>
          </p:cNvPr>
          <p:cNvSpPr>
            <a:spLocks noGrp="1"/>
          </p:cNvSpPr>
          <p:nvPr>
            <p:ph type="title"/>
          </p:nvPr>
        </p:nvSpPr>
        <p:spPr>
          <a:xfrm>
            <a:off x="812132" y="405669"/>
            <a:ext cx="10567736" cy="1149264"/>
          </a:xfrm>
        </p:spPr>
        <p:txBody>
          <a:bodyPr/>
          <a:lstStyle/>
          <a:p>
            <a:r>
              <a:rPr lang="sv-SE" dirty="0"/>
              <a:t>Vad har den nationella förvaltningen uppmärksammat för er i regionerna? </a:t>
            </a:r>
            <a:br>
              <a:rPr lang="sv-SE" dirty="0"/>
            </a:br>
            <a:endParaRPr lang="sv-SE" dirty="0"/>
          </a:p>
        </p:txBody>
      </p:sp>
      <p:sp>
        <p:nvSpPr>
          <p:cNvPr id="3" name="Platshållare för innehåll 2">
            <a:extLst>
              <a:ext uri="{FF2B5EF4-FFF2-40B4-BE49-F238E27FC236}">
                <a16:creationId xmlns:a16="http://schemas.microsoft.com/office/drawing/2014/main" id="{3D3F8FDD-22A7-465B-BABC-5ABFD28DC497}"/>
              </a:ext>
            </a:extLst>
          </p:cNvPr>
          <p:cNvSpPr>
            <a:spLocks noGrp="1"/>
          </p:cNvSpPr>
          <p:nvPr>
            <p:ph idx="1"/>
          </p:nvPr>
        </p:nvSpPr>
        <p:spPr>
          <a:xfrm>
            <a:off x="922424" y="1764711"/>
            <a:ext cx="5919810" cy="3564527"/>
          </a:xfrm>
        </p:spPr>
        <p:txBody>
          <a:bodyPr/>
          <a:lstStyle/>
          <a:p>
            <a:r>
              <a:rPr lang="sv-SE" sz="1800" b="0" u="none" dirty="0"/>
              <a:t>Hur ska de arbeta i momenten?</a:t>
            </a:r>
          </a:p>
          <a:p>
            <a:r>
              <a:rPr lang="sv-SE" sz="1800" b="0" u="none" baseline="0" dirty="0"/>
              <a:t>Innehåll och språk </a:t>
            </a:r>
          </a:p>
          <a:p>
            <a:r>
              <a:rPr lang="sv-SE" dirty="0"/>
              <a:t>Kommunikationen</a:t>
            </a:r>
            <a:endParaRPr lang="sv-SE" sz="1800" b="0" u="none" baseline="0" dirty="0"/>
          </a:p>
          <a:p>
            <a:r>
              <a:rPr lang="sv-SE" sz="1800" b="0" u="none" baseline="0" dirty="0"/>
              <a:t>Lämpligheten för invånaren att använda Stöd och behandling</a:t>
            </a:r>
          </a:p>
          <a:p>
            <a:r>
              <a:rPr lang="sv-SE" sz="1800" b="0" u="none" baseline="0" dirty="0"/>
              <a:t>Uppsamlade aviseringar</a:t>
            </a:r>
          </a:p>
          <a:p>
            <a:pPr marL="0" indent="0">
              <a:buNone/>
            </a:pPr>
            <a:endParaRPr lang="sv-SE" sz="1800" b="0" u="none" baseline="0" dirty="0"/>
          </a:p>
        </p:txBody>
      </p:sp>
      <p:sp>
        <p:nvSpPr>
          <p:cNvPr id="4" name="Platshållare för sidfot 3">
            <a:extLst>
              <a:ext uri="{FF2B5EF4-FFF2-40B4-BE49-F238E27FC236}">
                <a16:creationId xmlns:a16="http://schemas.microsoft.com/office/drawing/2014/main" id="{47E1F7E6-E024-4866-92FB-24F27CF13BD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16F93BC0-5CDE-4A6B-8DD1-E657BD50B88A}"/>
              </a:ext>
            </a:extLst>
          </p:cNvPr>
          <p:cNvSpPr>
            <a:spLocks noGrp="1"/>
          </p:cNvSpPr>
          <p:nvPr>
            <p:ph type="sldNum" sz="quarter" idx="12"/>
          </p:nvPr>
        </p:nvSpPr>
        <p:spPr/>
        <p:txBody>
          <a:bodyPr/>
          <a:lstStyle/>
          <a:p>
            <a:fld id="{7FF155A8-5C6D-4241-95DF-81E4F2B16EE5}" type="slidenum">
              <a:rPr lang="sv-SE" smtClean="0"/>
              <a:t>19</a:t>
            </a:fld>
            <a:endParaRPr lang="sv-SE"/>
          </a:p>
        </p:txBody>
      </p:sp>
      <p:pic>
        <p:nvPicPr>
          <p:cNvPr id="7" name="Platshållare för innehåll 13">
            <a:extLst>
              <a:ext uri="{FF2B5EF4-FFF2-40B4-BE49-F238E27FC236}">
                <a16:creationId xmlns:a16="http://schemas.microsoft.com/office/drawing/2014/main" id="{850E5139-2761-4A80-9D98-6A4DC2A0CA18}"/>
              </a:ext>
            </a:extLst>
          </p:cNvPr>
          <p:cNvPicPr>
            <a:picLocks noChangeAspect="1"/>
          </p:cNvPicPr>
          <p:nvPr/>
        </p:nvPicPr>
        <p:blipFill rotWithShape="1">
          <a:blip r:embed="rId2">
            <a:extLst>
              <a:ext uri="{28A0092B-C50C-407E-A947-70E740481C1C}">
                <a14:useLocalDpi xmlns:a14="http://schemas.microsoft.com/office/drawing/2010/main" val="0"/>
              </a:ext>
            </a:extLst>
          </a:blip>
          <a:stretch/>
        </p:blipFill>
        <p:spPr>
          <a:xfrm>
            <a:off x="6842234" y="1554933"/>
            <a:ext cx="4314097" cy="3160076"/>
          </a:xfrm>
          <a:prstGeom prst="roundRect">
            <a:avLst>
              <a:gd name="adj" fmla="val 1369"/>
            </a:avLst>
          </a:prstGeom>
          <a:noFill/>
        </p:spPr>
      </p:pic>
    </p:spTree>
    <p:extLst>
      <p:ext uri="{BB962C8B-B14F-4D97-AF65-F5344CB8AC3E}">
        <p14:creationId xmlns:p14="http://schemas.microsoft.com/office/powerpoint/2010/main" val="1850044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B3CAC4E-845C-4464-A04D-C4DB3DE46AF3}"/>
              </a:ext>
            </a:extLst>
          </p:cNvPr>
          <p:cNvSpPr>
            <a:spLocks noGrp="1"/>
          </p:cNvSpPr>
          <p:nvPr>
            <p:ph type="title"/>
          </p:nvPr>
        </p:nvSpPr>
        <p:spPr>
          <a:xfrm>
            <a:off x="838200" y="1"/>
            <a:ext cx="10515600" cy="944713"/>
          </a:xfrm>
        </p:spPr>
        <p:txBody>
          <a:bodyPr/>
          <a:lstStyle/>
          <a:p>
            <a:pPr algn="ctr"/>
            <a:r>
              <a:rPr lang="en-US"/>
              <a:t>Innan vi börjar….</a:t>
            </a:r>
          </a:p>
        </p:txBody>
      </p:sp>
      <p:sp>
        <p:nvSpPr>
          <p:cNvPr id="9" name="Content Placeholder 2">
            <a:extLst>
              <a:ext uri="{FF2B5EF4-FFF2-40B4-BE49-F238E27FC236}">
                <a16:creationId xmlns:a16="http://schemas.microsoft.com/office/drawing/2014/main" id="{9993CAB1-87C1-455A-819E-ACEEB293788A}"/>
              </a:ext>
            </a:extLst>
          </p:cNvPr>
          <p:cNvSpPr>
            <a:spLocks noGrp="1"/>
          </p:cNvSpPr>
          <p:nvPr>
            <p:ph idx="1"/>
          </p:nvPr>
        </p:nvSpPr>
        <p:spPr>
          <a:xfrm>
            <a:off x="838200" y="1825625"/>
            <a:ext cx="11130280" cy="4351338"/>
          </a:xfrm>
        </p:spPr>
        <p:txBody>
          <a:bodyPr vert="horz" lIns="0" tIns="0" rIns="0" bIns="0" rtlCol="0" anchor="t">
            <a:normAutofit/>
          </a:bodyPr>
          <a:lstStyle/>
          <a:p>
            <a:pPr>
              <a:buFont typeface="Wingdings" panose="05000000000000000000" pitchFamily="2" charset="2"/>
              <a:buChar char="ü"/>
            </a:pPr>
            <a:r>
              <a:rPr lang="sv-SE"/>
              <a:t>Stäng av er kamera</a:t>
            </a:r>
          </a:p>
          <a:p>
            <a:pPr>
              <a:buFont typeface="Wingdings" panose="05000000000000000000" pitchFamily="2" charset="2"/>
              <a:buChar char="ü"/>
            </a:pPr>
            <a:endParaRPr lang="sv-SE"/>
          </a:p>
          <a:p>
            <a:pPr>
              <a:buFont typeface="Wingdings" panose="05000000000000000000" pitchFamily="2" charset="2"/>
              <a:buChar char="ü"/>
            </a:pPr>
            <a:r>
              <a:rPr lang="sv-SE"/>
              <a:t>Var med i chatten.</a:t>
            </a:r>
          </a:p>
          <a:p>
            <a:pPr>
              <a:buFont typeface="Wingdings" panose="05000000000000000000" pitchFamily="2" charset="2"/>
              <a:buChar char="ü"/>
            </a:pPr>
            <a:endParaRPr lang="sv-SE"/>
          </a:p>
          <a:p>
            <a:pPr>
              <a:buFont typeface="Wingdings" panose="05000000000000000000" pitchFamily="2" charset="2"/>
              <a:buChar char="ü"/>
            </a:pPr>
            <a:r>
              <a:rPr lang="sv-SE"/>
              <a:t>Se till att din mikrofon är avstängd, förutom när du vill säga något.</a:t>
            </a:r>
            <a:br>
              <a:rPr lang="sv-SE"/>
            </a:br>
            <a:r>
              <a:rPr lang="sv-SE"/>
              <a:t>Om du vill prata, glöm inte att inleda med att presentera dig med namn samt region. </a:t>
            </a:r>
          </a:p>
          <a:p>
            <a:pPr>
              <a:buFont typeface="Wingdings" panose="05000000000000000000" pitchFamily="2" charset="2"/>
              <a:buChar char="ü"/>
            </a:pPr>
            <a:endParaRPr lang="sv-SE"/>
          </a:p>
          <a:p>
            <a:pPr>
              <a:buFont typeface="Wingdings" panose="05000000000000000000" pitchFamily="2" charset="2"/>
              <a:buChar char="ü"/>
            </a:pPr>
            <a:r>
              <a:rPr lang="sv-SE"/>
              <a:t>Användarforumet spelas in och läggs på Förvaltningens informationssida</a:t>
            </a:r>
            <a:endParaRPr lang="en-US"/>
          </a:p>
        </p:txBody>
      </p:sp>
      <p:pic>
        <p:nvPicPr>
          <p:cNvPr id="5" name="Bild 4" descr="Poddsändning">
            <a:extLst>
              <a:ext uri="{FF2B5EF4-FFF2-40B4-BE49-F238E27FC236}">
                <a16:creationId xmlns:a16="http://schemas.microsoft.com/office/drawing/2014/main" id="{BBECEADC-8CA8-4164-849C-07EB5F4D13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82879" y="3944758"/>
            <a:ext cx="819364" cy="819364"/>
          </a:xfrm>
          <a:prstGeom prst="rect">
            <a:avLst/>
          </a:prstGeom>
        </p:spPr>
      </p:pic>
      <p:pic>
        <p:nvPicPr>
          <p:cNvPr id="6" name="Bild 5" descr="Videokamera">
            <a:extLst>
              <a:ext uri="{FF2B5EF4-FFF2-40B4-BE49-F238E27FC236}">
                <a16:creationId xmlns:a16="http://schemas.microsoft.com/office/drawing/2014/main" id="{444986D8-15ED-4B88-BCA7-52BCC50FBD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2879" y="1531312"/>
            <a:ext cx="819364" cy="819364"/>
          </a:xfrm>
          <a:prstGeom prst="rect">
            <a:avLst/>
          </a:prstGeom>
        </p:spPr>
      </p:pic>
      <p:pic>
        <p:nvPicPr>
          <p:cNvPr id="10" name="Bild 9" descr="Marknadsföring">
            <a:extLst>
              <a:ext uri="{FF2B5EF4-FFF2-40B4-BE49-F238E27FC236}">
                <a16:creationId xmlns:a16="http://schemas.microsoft.com/office/drawing/2014/main" id="{B8FB716B-E4DE-4BFB-A4CA-29452ECD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82879" y="2747342"/>
            <a:ext cx="832468" cy="832468"/>
          </a:xfrm>
          <a:prstGeom prst="rect">
            <a:avLst/>
          </a:prstGeom>
        </p:spPr>
      </p:pic>
      <p:pic>
        <p:nvPicPr>
          <p:cNvPr id="20" name="Bild 19" descr="Bock">
            <a:extLst>
              <a:ext uri="{FF2B5EF4-FFF2-40B4-BE49-F238E27FC236}">
                <a16:creationId xmlns:a16="http://schemas.microsoft.com/office/drawing/2014/main" id="{B4533BC8-CB80-4FA1-9CB7-461589A7AD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82880" y="1531312"/>
            <a:ext cx="832467" cy="832467"/>
          </a:xfrm>
          <a:prstGeom prst="rect">
            <a:avLst/>
          </a:prstGeom>
        </p:spPr>
      </p:pic>
    </p:spTree>
    <p:extLst>
      <p:ext uri="{BB962C8B-B14F-4D97-AF65-F5344CB8AC3E}">
        <p14:creationId xmlns:p14="http://schemas.microsoft.com/office/powerpoint/2010/main" val="688302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D7A4B0F-A5F4-4608-AC5B-663D303EFEFC}"/>
              </a:ext>
            </a:extLst>
          </p:cNvPr>
          <p:cNvSpPr>
            <a:spLocks noGrp="1"/>
          </p:cNvSpPr>
          <p:nvPr>
            <p:ph type="title"/>
          </p:nvPr>
        </p:nvSpPr>
        <p:spPr/>
        <p:txBody>
          <a:bodyPr/>
          <a:lstStyle/>
          <a:p>
            <a:r>
              <a:rPr lang="sv-SE" sz="3600" b="0" u="none" dirty="0"/>
              <a:t>Hur ska de arbeta i momenten?</a:t>
            </a:r>
            <a:endParaRPr lang="sv-SE" dirty="0"/>
          </a:p>
        </p:txBody>
      </p:sp>
      <p:sp>
        <p:nvSpPr>
          <p:cNvPr id="3" name="Platshållare för innehåll 2">
            <a:extLst>
              <a:ext uri="{FF2B5EF4-FFF2-40B4-BE49-F238E27FC236}">
                <a16:creationId xmlns:a16="http://schemas.microsoft.com/office/drawing/2014/main" id="{C7D71679-6CAF-4371-9A8E-DFD12AAA4D55}"/>
              </a:ext>
            </a:extLst>
          </p:cNvPr>
          <p:cNvSpPr>
            <a:spLocks noGrp="1"/>
          </p:cNvSpPr>
          <p:nvPr>
            <p:ph idx="1"/>
          </p:nvPr>
        </p:nvSpPr>
        <p:spPr/>
        <p:txBody>
          <a:bodyPr/>
          <a:lstStyle/>
          <a:p>
            <a:r>
              <a:rPr lang="sv-SE" sz="1800" dirty="0"/>
              <a:t>Hur lång tid ska de ägna åt varje del?</a:t>
            </a:r>
          </a:p>
          <a:p>
            <a:r>
              <a:rPr lang="sv-SE" sz="1800" dirty="0"/>
              <a:t>I vilken ordning ska de ta del av innehållet? Läsa innehållet först och sedan göra övningar eller tvärtom?</a:t>
            </a:r>
          </a:p>
          <a:p>
            <a:r>
              <a:rPr lang="sv-SE" sz="1800" dirty="0"/>
              <a:t>Hur ska de fylla i övningarna? </a:t>
            </a:r>
          </a:p>
          <a:p>
            <a:r>
              <a:rPr lang="sv-SE" sz="1800" dirty="0"/>
              <a:t>Hur ofta ska de fylla i övningarna?</a:t>
            </a:r>
          </a:p>
          <a:p>
            <a:endParaRPr lang="sv-SE" dirty="0"/>
          </a:p>
        </p:txBody>
      </p:sp>
      <p:sp>
        <p:nvSpPr>
          <p:cNvPr id="4" name="Platshållare för sidfot 3">
            <a:extLst>
              <a:ext uri="{FF2B5EF4-FFF2-40B4-BE49-F238E27FC236}">
                <a16:creationId xmlns:a16="http://schemas.microsoft.com/office/drawing/2014/main" id="{0C3119FC-36ED-4E4C-ADB7-594400CC320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ABCA545-B601-4A51-8374-E675508E8255}"/>
              </a:ext>
            </a:extLst>
          </p:cNvPr>
          <p:cNvSpPr>
            <a:spLocks noGrp="1"/>
          </p:cNvSpPr>
          <p:nvPr>
            <p:ph type="sldNum" sz="quarter" idx="12"/>
          </p:nvPr>
        </p:nvSpPr>
        <p:spPr/>
        <p:txBody>
          <a:bodyPr/>
          <a:lstStyle/>
          <a:p>
            <a:fld id="{7FF155A8-5C6D-4241-95DF-81E4F2B16EE5}" type="slidenum">
              <a:rPr lang="sv-SE" smtClean="0"/>
              <a:t>20</a:t>
            </a:fld>
            <a:endParaRPr lang="sv-SE"/>
          </a:p>
        </p:txBody>
      </p:sp>
      <p:pic>
        <p:nvPicPr>
          <p:cNvPr id="8" name="Bildobjekt 7">
            <a:extLst>
              <a:ext uri="{FF2B5EF4-FFF2-40B4-BE49-F238E27FC236}">
                <a16:creationId xmlns:a16="http://schemas.microsoft.com/office/drawing/2014/main" id="{E5F70FDB-56C5-4EB1-AC0F-12136724691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9578" y="658853"/>
            <a:ext cx="4920558" cy="4920558"/>
          </a:xfrm>
          <a:prstGeom prst="rect">
            <a:avLst/>
          </a:prstGeom>
        </p:spPr>
      </p:pic>
    </p:spTree>
    <p:extLst>
      <p:ext uri="{BB962C8B-B14F-4D97-AF65-F5344CB8AC3E}">
        <p14:creationId xmlns:p14="http://schemas.microsoft.com/office/powerpoint/2010/main" val="315989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24008E-A876-46E5-B7B0-786DF47BCA73}"/>
              </a:ext>
            </a:extLst>
          </p:cNvPr>
          <p:cNvSpPr>
            <a:spLocks noGrp="1"/>
          </p:cNvSpPr>
          <p:nvPr>
            <p:ph type="title"/>
          </p:nvPr>
        </p:nvSpPr>
        <p:spPr/>
        <p:txBody>
          <a:bodyPr/>
          <a:lstStyle/>
          <a:p>
            <a:r>
              <a:rPr lang="sv-SE" dirty="0"/>
              <a:t>Innehåll och språk</a:t>
            </a:r>
          </a:p>
        </p:txBody>
      </p:sp>
      <p:sp>
        <p:nvSpPr>
          <p:cNvPr id="3" name="Platshållare för innehåll 2">
            <a:extLst>
              <a:ext uri="{FF2B5EF4-FFF2-40B4-BE49-F238E27FC236}">
                <a16:creationId xmlns:a16="http://schemas.microsoft.com/office/drawing/2014/main" id="{408995A6-FF3D-4C96-826A-BBA617DBBB1F}"/>
              </a:ext>
            </a:extLst>
          </p:cNvPr>
          <p:cNvSpPr>
            <a:spLocks noGrp="1"/>
          </p:cNvSpPr>
          <p:nvPr>
            <p:ph idx="1"/>
          </p:nvPr>
        </p:nvSpPr>
        <p:spPr/>
        <p:txBody>
          <a:bodyPr/>
          <a:lstStyle/>
          <a:p>
            <a:r>
              <a:rPr lang="sv-SE" dirty="0"/>
              <a:t>Informationen i momenten upplevs vara för generell och för enkel.</a:t>
            </a:r>
            <a:endParaRPr lang="sv-SE" sz="1800" b="0" u="none" baseline="0" dirty="0"/>
          </a:p>
          <a:p>
            <a:r>
              <a:rPr lang="sv-SE" sz="1800" b="0" u="none" baseline="0" dirty="0"/>
              <a:t>Invånarna upplever att deras moment inte är individanpassade och tappar därmed förtroende för informationen och behandlingsmetoden.  </a:t>
            </a:r>
          </a:p>
          <a:p>
            <a:r>
              <a:rPr lang="sv-SE" sz="1800" b="0" u="none" baseline="0" dirty="0"/>
              <a:t>Invånarna önskar mer tid för att kunna arbeta i momenten. </a:t>
            </a:r>
          </a:p>
          <a:p>
            <a:r>
              <a:rPr lang="sv-SE" sz="1800" b="0" u="none" baseline="0" dirty="0"/>
              <a:t>Invånarna vill ha fler svarsalternativ i </a:t>
            </a:r>
            <a:r>
              <a:rPr lang="sv-SE" dirty="0"/>
              <a:t>formulären samt tydligare förklaringar vad varje svarsalternativ betyder. </a:t>
            </a:r>
            <a:endParaRPr lang="sv-SE" sz="1800" b="0" u="none" baseline="0" dirty="0"/>
          </a:p>
          <a:p>
            <a:r>
              <a:rPr lang="sv-SE" sz="1800" b="0" u="none" baseline="0" dirty="0"/>
              <a:t>En del av invånarna upplever att språket måste förenklas. Det är svårt för exempelvis de med dyslexi eller de som inte har svenska som modersmål.</a:t>
            </a:r>
          </a:p>
          <a:p>
            <a:r>
              <a:rPr lang="sv-SE" dirty="0"/>
              <a:t>En person signalerade även att språket kan ge tankar om möjligheter (Se nästa sida, övrehögra hörnet).</a:t>
            </a:r>
            <a:endParaRPr lang="sv-SE" sz="1800" b="0" u="none" baseline="0" dirty="0"/>
          </a:p>
          <a:p>
            <a:endParaRPr lang="sv-SE" sz="1800" b="0" u="none" baseline="0" dirty="0"/>
          </a:p>
          <a:p>
            <a:endParaRPr lang="sv-SE" sz="1800" b="0" u="none" baseline="0" dirty="0"/>
          </a:p>
          <a:p>
            <a:endParaRPr lang="sv-SE" sz="1800" b="0" u="none" baseline="0" dirty="0"/>
          </a:p>
          <a:p>
            <a:endParaRPr lang="sv-SE" dirty="0"/>
          </a:p>
        </p:txBody>
      </p:sp>
      <p:sp>
        <p:nvSpPr>
          <p:cNvPr id="4" name="Platshållare för sidfot 3">
            <a:extLst>
              <a:ext uri="{FF2B5EF4-FFF2-40B4-BE49-F238E27FC236}">
                <a16:creationId xmlns:a16="http://schemas.microsoft.com/office/drawing/2014/main" id="{2C69E5B8-77B3-4BB3-B65E-C7CEE13E3FA6}"/>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0C66BB7-DB96-4E43-9C54-66B7239860AA}"/>
              </a:ext>
            </a:extLst>
          </p:cNvPr>
          <p:cNvSpPr>
            <a:spLocks noGrp="1"/>
          </p:cNvSpPr>
          <p:nvPr>
            <p:ph type="sldNum" sz="quarter" idx="12"/>
          </p:nvPr>
        </p:nvSpPr>
        <p:spPr/>
        <p:txBody>
          <a:bodyPr/>
          <a:lstStyle/>
          <a:p>
            <a:fld id="{7FF155A8-5C6D-4241-95DF-81E4F2B16EE5}" type="slidenum">
              <a:rPr lang="sv-SE" smtClean="0"/>
              <a:t>21</a:t>
            </a:fld>
            <a:endParaRPr lang="sv-SE"/>
          </a:p>
        </p:txBody>
      </p:sp>
      <p:pic>
        <p:nvPicPr>
          <p:cNvPr id="8" name="Bildobjekt 7" descr="En bild som visar text&#10;&#10;Automatiskt genererad beskrivning">
            <a:extLst>
              <a:ext uri="{FF2B5EF4-FFF2-40B4-BE49-F238E27FC236}">
                <a16:creationId xmlns:a16="http://schemas.microsoft.com/office/drawing/2014/main" id="{FAC59211-C8AD-40EC-B4A3-8F3F85BE51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2876" y="1115790"/>
            <a:ext cx="5299124" cy="4995299"/>
          </a:xfrm>
          <a:prstGeom prst="rect">
            <a:avLst/>
          </a:prstGeom>
        </p:spPr>
      </p:pic>
    </p:spTree>
    <p:extLst>
      <p:ext uri="{BB962C8B-B14F-4D97-AF65-F5344CB8AC3E}">
        <p14:creationId xmlns:p14="http://schemas.microsoft.com/office/powerpoint/2010/main" val="339790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BD6B972-E3C4-4270-8B46-3BEDF0C98871}"/>
              </a:ext>
            </a:extLst>
          </p:cNvPr>
          <p:cNvSpPr>
            <a:spLocks noGrp="1"/>
          </p:cNvSpPr>
          <p:nvPr>
            <p:ph type="title"/>
          </p:nvPr>
        </p:nvSpPr>
        <p:spPr/>
        <p:txBody>
          <a:bodyPr/>
          <a:lstStyle/>
          <a:p>
            <a:r>
              <a:rPr lang="sv-SE" dirty="0"/>
              <a:t>Citat från invånare om innehåll och språk</a:t>
            </a:r>
          </a:p>
        </p:txBody>
      </p:sp>
      <p:sp>
        <p:nvSpPr>
          <p:cNvPr id="4" name="Platshållare för sidfot 3">
            <a:extLst>
              <a:ext uri="{FF2B5EF4-FFF2-40B4-BE49-F238E27FC236}">
                <a16:creationId xmlns:a16="http://schemas.microsoft.com/office/drawing/2014/main" id="{EDDBE6DC-1F0E-4DD9-9591-9D02F02B816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68011E6-61D4-43B4-9FC0-B81B5D489944}"/>
              </a:ext>
            </a:extLst>
          </p:cNvPr>
          <p:cNvSpPr>
            <a:spLocks noGrp="1"/>
          </p:cNvSpPr>
          <p:nvPr>
            <p:ph type="sldNum" sz="quarter" idx="12"/>
          </p:nvPr>
        </p:nvSpPr>
        <p:spPr/>
        <p:txBody>
          <a:bodyPr/>
          <a:lstStyle/>
          <a:p>
            <a:fld id="{D1B389D8-6223-4B1D-82AB-19C377706A8C}" type="slidenum">
              <a:rPr lang="sv-SE" smtClean="0"/>
              <a:t>22</a:t>
            </a:fld>
            <a:endParaRPr lang="sv-SE"/>
          </a:p>
        </p:txBody>
      </p:sp>
      <p:sp>
        <p:nvSpPr>
          <p:cNvPr id="6" name="Platshållare för innehåll 5">
            <a:extLst>
              <a:ext uri="{FF2B5EF4-FFF2-40B4-BE49-F238E27FC236}">
                <a16:creationId xmlns:a16="http://schemas.microsoft.com/office/drawing/2014/main" id="{9AA4AADF-8C53-43E8-8C48-F738F2EB9F8F}"/>
              </a:ext>
            </a:extLst>
          </p:cNvPr>
          <p:cNvSpPr>
            <a:spLocks noGrp="1"/>
          </p:cNvSpPr>
          <p:nvPr>
            <p:ph idx="1"/>
          </p:nvPr>
        </p:nvSpPr>
        <p:spPr>
          <a:xfrm>
            <a:off x="385363" y="1361437"/>
            <a:ext cx="4007427" cy="3062826"/>
          </a:xfrm>
          <a:prstGeom prst="wedgeEllipseCallout">
            <a:avLst>
              <a:gd name="adj1" fmla="val 64564"/>
              <a:gd name="adj2" fmla="val 7815"/>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sv-SE" sz="1400" i="1" dirty="0">
                <a:solidFill>
                  <a:srgbClr val="000000"/>
                </a:solidFill>
                <a:latin typeface="Segoe UI" panose="020B0502040204020203" pitchFamily="34" charset="0"/>
              </a:rPr>
              <a:t>Genom att göra kurser för vuxna människor när ni väder er till vuxna. Jag förväntar mig mycket mer innehåll, information, hänvisningar till forskning och över lag en mycket högre nivå. De kurser jag tagit har </a:t>
            </a:r>
            <a:r>
              <a:rPr lang="sv-SE" sz="1400" i="1" dirty="0" err="1">
                <a:solidFill>
                  <a:srgbClr val="000000"/>
                </a:solidFill>
                <a:latin typeface="Segoe UI" panose="020B0502040204020203" pitchFamily="34" charset="0"/>
              </a:rPr>
              <a:t>kämnts</a:t>
            </a:r>
            <a:r>
              <a:rPr lang="sv-SE" sz="1400" i="1" dirty="0">
                <a:solidFill>
                  <a:srgbClr val="000000"/>
                </a:solidFill>
                <a:latin typeface="Segoe UI" panose="020B0502040204020203" pitchFamily="34" charset="0"/>
              </a:rPr>
              <a:t> som en ren förolämpning. Det är bra med enkel information för de som behöver det. Men om alla ska ha nytta av ert utbud behövs fler nivåer.</a:t>
            </a:r>
          </a:p>
        </p:txBody>
      </p:sp>
      <p:sp>
        <p:nvSpPr>
          <p:cNvPr id="7" name="Pratbubbla: rektangel med rundade hörn 6">
            <a:extLst>
              <a:ext uri="{FF2B5EF4-FFF2-40B4-BE49-F238E27FC236}">
                <a16:creationId xmlns:a16="http://schemas.microsoft.com/office/drawing/2014/main" id="{306A4ED9-0B53-42E7-847C-831E28AAFCB0}"/>
              </a:ext>
            </a:extLst>
          </p:cNvPr>
          <p:cNvSpPr/>
          <p:nvPr/>
        </p:nvSpPr>
        <p:spPr>
          <a:xfrm>
            <a:off x="6918133" y="1363651"/>
            <a:ext cx="5108556" cy="1921160"/>
          </a:xfrm>
          <a:prstGeom prst="wedgeRoundRectCallout">
            <a:avLst>
              <a:gd name="adj1" fmla="val -60652"/>
              <a:gd name="adj2" fmla="val 25863"/>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 Frågorna att fylla i under utvärderingen har mycket fokus på självmord, jag har reagerat starkt på detta, och på ett sätt har det gjort att jag snarare funderat på det som en möjlighet... och att då varje vecka få samma frågor om det. Men som sagt- jag antar att ni har grund för den frågan, och kanske finns evidens på att frågan räddar fler allvarligt suicidala än tvärtom.... -hoppas det. /…/</a:t>
            </a:r>
          </a:p>
        </p:txBody>
      </p:sp>
      <p:sp>
        <p:nvSpPr>
          <p:cNvPr id="8" name="Pratbubbla: rektangel 7">
            <a:extLst>
              <a:ext uri="{FF2B5EF4-FFF2-40B4-BE49-F238E27FC236}">
                <a16:creationId xmlns:a16="http://schemas.microsoft.com/office/drawing/2014/main" id="{1BA78305-3BA1-404C-A117-3EE87ABEA69E}"/>
              </a:ext>
            </a:extLst>
          </p:cNvPr>
          <p:cNvSpPr/>
          <p:nvPr/>
        </p:nvSpPr>
        <p:spPr>
          <a:xfrm>
            <a:off x="2003411" y="4736716"/>
            <a:ext cx="4451711" cy="1262803"/>
          </a:xfrm>
          <a:prstGeom prst="wedgeRectCallout">
            <a:avLst>
              <a:gd name="adj1" fmla="val 32245"/>
              <a:gd name="adj2" fmla="val -96801"/>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Bli medveten om hur språk och uttryck påverkar mottagaren. Är lärdomar ett bra uttryck? Kanske: tror du att detta kan hjälpa dig? Vad känner du att du blivit hjälpt </a:t>
            </a:r>
            <a:r>
              <a:rPr lang="sv-SE" sz="1400" dirty="0"/>
              <a:t>av?</a:t>
            </a:r>
            <a:endParaRPr lang="sv-SE" dirty="0"/>
          </a:p>
        </p:txBody>
      </p:sp>
      <p:sp>
        <p:nvSpPr>
          <p:cNvPr id="10" name="Platshållare för innehåll 5">
            <a:extLst>
              <a:ext uri="{FF2B5EF4-FFF2-40B4-BE49-F238E27FC236}">
                <a16:creationId xmlns:a16="http://schemas.microsoft.com/office/drawing/2014/main" id="{DF23F3EE-FD70-4DDE-9BDA-ED53F8C4FBD6}"/>
              </a:ext>
            </a:extLst>
          </p:cNvPr>
          <p:cNvSpPr txBox="1">
            <a:spLocks/>
          </p:cNvSpPr>
          <p:nvPr/>
        </p:nvSpPr>
        <p:spPr>
          <a:xfrm>
            <a:off x="7553536" y="4016632"/>
            <a:ext cx="4378932" cy="1921161"/>
          </a:xfrm>
          <a:prstGeom prst="wedgeEllipseCallout">
            <a:avLst>
              <a:gd name="adj1" fmla="val -72063"/>
              <a:gd name="adj2" fmla="val -51576"/>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sv-SE" sz="1400" i="1" dirty="0">
                <a:solidFill>
                  <a:srgbClr val="000000"/>
                </a:solidFill>
                <a:latin typeface="Segoe UI" panose="020B0502040204020203" pitchFamily="34" charset="0"/>
              </a:rPr>
              <a:t>Ja har lätt dyslexi men </a:t>
            </a:r>
            <a:r>
              <a:rPr lang="sv-SE" sz="1400" i="1" dirty="0" err="1">
                <a:solidFill>
                  <a:srgbClr val="000000"/>
                </a:solidFill>
                <a:latin typeface="Segoe UI" panose="020B0502040204020203" pitchFamily="34" charset="0"/>
              </a:rPr>
              <a:t>meningsuppbygnad</a:t>
            </a:r>
            <a:r>
              <a:rPr lang="sv-SE" sz="1400" i="1" dirty="0">
                <a:solidFill>
                  <a:srgbClr val="000000"/>
                </a:solidFill>
                <a:latin typeface="Segoe UI" panose="020B0502040204020203" pitchFamily="34" charset="0"/>
              </a:rPr>
              <a:t> å betoningar e </a:t>
            </a:r>
            <a:r>
              <a:rPr lang="sv-SE" sz="1400" i="1" dirty="0" err="1">
                <a:solidFill>
                  <a:srgbClr val="000000"/>
                </a:solidFill>
                <a:latin typeface="Segoe UI" panose="020B0502040204020203" pitchFamily="34" charset="0"/>
              </a:rPr>
              <a:t>pinssamma</a:t>
            </a:r>
            <a:r>
              <a:rPr lang="sv-SE" sz="1400" i="1" dirty="0">
                <a:solidFill>
                  <a:srgbClr val="000000"/>
                </a:solidFill>
                <a:latin typeface="Segoe UI" panose="020B0502040204020203" pitchFamily="34" charset="0"/>
              </a:rPr>
              <a:t> på så många ställen å de e väldigt </a:t>
            </a:r>
            <a:r>
              <a:rPr lang="sv-SE" sz="1400" i="1" dirty="0" err="1">
                <a:solidFill>
                  <a:srgbClr val="000000"/>
                </a:solidFill>
                <a:latin typeface="Segoe UI" panose="020B0502040204020203" pitchFamily="34" charset="0"/>
              </a:rPr>
              <a:t>förrvirrande</a:t>
            </a:r>
            <a:r>
              <a:rPr lang="sv-SE" sz="1400" i="1" dirty="0">
                <a:solidFill>
                  <a:srgbClr val="000000"/>
                </a:solidFill>
                <a:latin typeface="Segoe UI" panose="020B0502040204020203" pitchFamily="34" charset="0"/>
              </a:rPr>
              <a:t> när man läst om nått över 4 gånger å man fortfarande inte förstår vad de e som åsyftas.</a:t>
            </a:r>
          </a:p>
        </p:txBody>
      </p:sp>
      <p:pic>
        <p:nvPicPr>
          <p:cNvPr id="9" name="Bildobjekt 8">
            <a:extLst>
              <a:ext uri="{FF2B5EF4-FFF2-40B4-BE49-F238E27FC236}">
                <a16:creationId xmlns:a16="http://schemas.microsoft.com/office/drawing/2014/main" id="{799AFB9E-0D36-4EE0-B5C3-8F742B9CEC4E}"/>
              </a:ext>
            </a:extLst>
          </p:cNvPr>
          <p:cNvPicPr>
            <a:picLocks noChangeAspect="1"/>
          </p:cNvPicPr>
          <p:nvPr/>
        </p:nvPicPr>
        <p:blipFill>
          <a:blip r:embed="rId2"/>
          <a:stretch>
            <a:fillRect/>
          </a:stretch>
        </p:blipFill>
        <p:spPr>
          <a:xfrm>
            <a:off x="5136306" y="1817308"/>
            <a:ext cx="1038311" cy="2151083"/>
          </a:xfrm>
          <a:prstGeom prst="rect">
            <a:avLst/>
          </a:prstGeom>
        </p:spPr>
      </p:pic>
    </p:spTree>
    <p:extLst>
      <p:ext uri="{BB962C8B-B14F-4D97-AF65-F5344CB8AC3E}">
        <p14:creationId xmlns:p14="http://schemas.microsoft.com/office/powerpoint/2010/main" val="7459085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C1E262-BB59-43CC-A9C7-C242EFE77584}"/>
              </a:ext>
            </a:extLst>
          </p:cNvPr>
          <p:cNvSpPr>
            <a:spLocks noGrp="1"/>
          </p:cNvSpPr>
          <p:nvPr>
            <p:ph type="title"/>
          </p:nvPr>
        </p:nvSpPr>
        <p:spPr/>
        <p:txBody>
          <a:bodyPr/>
          <a:lstStyle/>
          <a:p>
            <a:r>
              <a:rPr lang="sv-SE" dirty="0"/>
              <a:t>Citat från invånare om innehåll och språk</a:t>
            </a:r>
          </a:p>
        </p:txBody>
      </p:sp>
      <p:sp>
        <p:nvSpPr>
          <p:cNvPr id="4" name="Platshållare för sidfot 3">
            <a:extLst>
              <a:ext uri="{FF2B5EF4-FFF2-40B4-BE49-F238E27FC236}">
                <a16:creationId xmlns:a16="http://schemas.microsoft.com/office/drawing/2014/main" id="{D6D3B7B0-449E-408D-B2F3-D487A15BD891}"/>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7C28645-DEA7-4D5C-A348-750B7EE447D2}"/>
              </a:ext>
            </a:extLst>
          </p:cNvPr>
          <p:cNvSpPr>
            <a:spLocks noGrp="1"/>
          </p:cNvSpPr>
          <p:nvPr>
            <p:ph type="sldNum" sz="quarter" idx="12"/>
          </p:nvPr>
        </p:nvSpPr>
        <p:spPr/>
        <p:txBody>
          <a:bodyPr/>
          <a:lstStyle/>
          <a:p>
            <a:fld id="{D1B389D8-6223-4B1D-82AB-19C377706A8C}" type="slidenum">
              <a:rPr lang="sv-SE" smtClean="0"/>
              <a:t>23</a:t>
            </a:fld>
            <a:endParaRPr lang="sv-SE"/>
          </a:p>
        </p:txBody>
      </p:sp>
      <p:sp>
        <p:nvSpPr>
          <p:cNvPr id="6" name="Pratbubbla: rektangel med rundade hörn 5">
            <a:extLst>
              <a:ext uri="{FF2B5EF4-FFF2-40B4-BE49-F238E27FC236}">
                <a16:creationId xmlns:a16="http://schemas.microsoft.com/office/drawing/2014/main" id="{9B6153C1-C6A0-43FB-84EC-5DFD5DC276F1}"/>
              </a:ext>
            </a:extLst>
          </p:cNvPr>
          <p:cNvSpPr/>
          <p:nvPr/>
        </p:nvSpPr>
        <p:spPr>
          <a:xfrm>
            <a:off x="3702867" y="1600202"/>
            <a:ext cx="8256760" cy="2537232"/>
          </a:xfrm>
          <a:prstGeom prst="wedgeRoundRectCallout">
            <a:avLst>
              <a:gd name="adj1" fmla="val -55915"/>
              <a:gd name="adj2" fmla="val 21632"/>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buNone/>
            </a:pPr>
            <a:r>
              <a:rPr lang="sv-SE" sz="1400" dirty="0">
                <a:solidFill>
                  <a:srgbClr val="000000"/>
                </a:solidFill>
                <a:latin typeface="Segoe UI" panose="020B0502040204020203" pitchFamily="34" charset="0"/>
              </a:rPr>
              <a:t>J</a:t>
            </a:r>
            <a:r>
              <a:rPr lang="sv-SE" sz="1400" b="0" i="0" dirty="0">
                <a:solidFill>
                  <a:srgbClr val="000000"/>
                </a:solidFill>
                <a:effectLst/>
                <a:latin typeface="Segoe UI" panose="020B0502040204020203" pitchFamily="34" charset="0"/>
              </a:rPr>
              <a:t>ag har Min vårdplan Bröstcancer. Min förväntan var att jag här skulle ha en interaktiv kontaktväg men min vårdgivare och att vårdplanen skulle ha något med just min vård att göra. Istället visade den sig vara mer som en digitaliserad broschyr med ett allmänt innehåll. Jag har läst informationen, den var väl bra </a:t>
            </a:r>
            <a:r>
              <a:rPr lang="sv-SE" sz="1400" b="0" i="0" dirty="0" err="1">
                <a:solidFill>
                  <a:srgbClr val="000000"/>
                </a:solidFill>
                <a:effectLst/>
                <a:latin typeface="Segoe UI" panose="020B0502040204020203" pitchFamily="34" charset="0"/>
              </a:rPr>
              <a:t>iofs</a:t>
            </a:r>
            <a:r>
              <a:rPr lang="sv-SE" sz="1400" b="0" i="0" dirty="0">
                <a:solidFill>
                  <a:srgbClr val="000000"/>
                </a:solidFill>
                <a:effectLst/>
                <a:latin typeface="Segoe UI" panose="020B0502040204020203" pitchFamily="34" charset="0"/>
              </a:rPr>
              <a:t>, men det har inte varit fråga om någon personlig vårdplan eller något som kan kallas "stöd och behandling".</a:t>
            </a:r>
            <a:br>
              <a:rPr lang="sv-SE" sz="1400" dirty="0"/>
            </a:br>
            <a:br>
              <a:rPr lang="sv-SE" sz="1400" dirty="0"/>
            </a:br>
            <a:r>
              <a:rPr lang="sv-SE" sz="1400" b="0" i="0" dirty="0">
                <a:solidFill>
                  <a:srgbClr val="000000"/>
                </a:solidFill>
                <a:effectLst/>
                <a:latin typeface="Segoe UI" panose="020B0502040204020203" pitchFamily="34" charset="0"/>
              </a:rPr>
              <a:t>Som cancerpatient slussas jag hit och dit beroende på var jag befinner mig i behandlingsprocessen och det skulle t.ex. vara värdefullt att veta när i processen jag ska få träffa en läkare, få återkoppling på behandlingsresultat eller uppföljning. Dvs se en plan för min behandling. Inget sånt finns i "Min vårdplan bröstcancer".</a:t>
            </a:r>
            <a:endParaRPr lang="sv-SE" sz="1400" dirty="0"/>
          </a:p>
        </p:txBody>
      </p:sp>
      <p:pic>
        <p:nvPicPr>
          <p:cNvPr id="7" name="Bildobjekt 6">
            <a:extLst>
              <a:ext uri="{FF2B5EF4-FFF2-40B4-BE49-F238E27FC236}">
                <a16:creationId xmlns:a16="http://schemas.microsoft.com/office/drawing/2014/main" id="{A54190A4-2872-45E0-AD11-E75C2CCA8A04}"/>
              </a:ext>
            </a:extLst>
          </p:cNvPr>
          <p:cNvPicPr>
            <a:picLocks noChangeAspect="1"/>
          </p:cNvPicPr>
          <p:nvPr/>
        </p:nvPicPr>
        <p:blipFill>
          <a:blip r:embed="rId2"/>
          <a:stretch>
            <a:fillRect/>
          </a:stretch>
        </p:blipFill>
        <p:spPr>
          <a:xfrm>
            <a:off x="471748" y="1600202"/>
            <a:ext cx="2552381" cy="4510887"/>
          </a:xfrm>
          <a:prstGeom prst="rect">
            <a:avLst/>
          </a:prstGeom>
        </p:spPr>
      </p:pic>
    </p:spTree>
    <p:extLst>
      <p:ext uri="{BB962C8B-B14F-4D97-AF65-F5344CB8AC3E}">
        <p14:creationId xmlns:p14="http://schemas.microsoft.com/office/powerpoint/2010/main" val="29972610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79E745-1A87-42E4-9EFB-AFD174397A9E}"/>
              </a:ext>
            </a:extLst>
          </p:cNvPr>
          <p:cNvSpPr>
            <a:spLocks noGrp="1"/>
          </p:cNvSpPr>
          <p:nvPr>
            <p:ph type="title"/>
          </p:nvPr>
        </p:nvSpPr>
        <p:spPr/>
        <p:txBody>
          <a:bodyPr/>
          <a:lstStyle/>
          <a:p>
            <a:r>
              <a:rPr lang="sv-SE" dirty="0"/>
              <a:t>Kommunikation</a:t>
            </a:r>
          </a:p>
        </p:txBody>
      </p:sp>
      <p:sp>
        <p:nvSpPr>
          <p:cNvPr id="3" name="Platshållare för innehåll 2">
            <a:extLst>
              <a:ext uri="{FF2B5EF4-FFF2-40B4-BE49-F238E27FC236}">
                <a16:creationId xmlns:a16="http://schemas.microsoft.com/office/drawing/2014/main" id="{CC922992-F35B-44AF-BF66-E7539CE62FE9}"/>
              </a:ext>
            </a:extLst>
          </p:cNvPr>
          <p:cNvSpPr>
            <a:spLocks noGrp="1"/>
          </p:cNvSpPr>
          <p:nvPr>
            <p:ph idx="1"/>
          </p:nvPr>
        </p:nvSpPr>
        <p:spPr/>
        <p:txBody>
          <a:bodyPr/>
          <a:lstStyle/>
          <a:p>
            <a:pPr marL="0" indent="0">
              <a:buNone/>
            </a:pPr>
            <a:r>
              <a:rPr lang="sv-SE" sz="1800" b="0" u="none" baseline="0" dirty="0"/>
              <a:t>Invånarna önskar en bättre och mer kontinuerlig kommunikation med sin behandlare. </a:t>
            </a:r>
          </a:p>
          <a:p>
            <a:r>
              <a:rPr lang="sv-SE" dirty="0"/>
              <a:t>Komplettera med fysiska möten. </a:t>
            </a:r>
          </a:p>
          <a:p>
            <a:r>
              <a:rPr lang="sv-SE" dirty="0"/>
              <a:t>Bättre svarsfrekvens från behandlarna. </a:t>
            </a:r>
          </a:p>
          <a:p>
            <a:r>
              <a:rPr lang="sv-SE" dirty="0"/>
              <a:t>Tydliga direktiv om NÄR invånaren kan förvänta sig svar från behandlaren. Exempelvis behandlaren svarar på tisdagar. </a:t>
            </a:r>
          </a:p>
          <a:p>
            <a:r>
              <a:rPr lang="sv-SE" dirty="0"/>
              <a:t>Tydligare svar på invånarens frågor. </a:t>
            </a:r>
          </a:p>
          <a:p>
            <a:r>
              <a:rPr lang="sv-SE" dirty="0"/>
              <a:t>En del invånaren uttryckte att de saknade möjlighet till kommunikation. </a:t>
            </a:r>
          </a:p>
          <a:p>
            <a:pPr lvl="1"/>
            <a:r>
              <a:rPr lang="sv-SE" dirty="0"/>
              <a:t>Ingen meddelandefunktion.</a:t>
            </a:r>
          </a:p>
          <a:p>
            <a:pPr lvl="1"/>
            <a:r>
              <a:rPr lang="sv-SE" dirty="0"/>
              <a:t>Inget telefonnummer de kan ringa vid frågor. </a:t>
            </a:r>
          </a:p>
          <a:p>
            <a:pPr lvl="1"/>
            <a:endParaRPr lang="sv-SE" b="0" u="none" baseline="0" dirty="0"/>
          </a:p>
          <a:p>
            <a:endParaRPr lang="sv-SE" dirty="0"/>
          </a:p>
        </p:txBody>
      </p:sp>
      <p:sp>
        <p:nvSpPr>
          <p:cNvPr id="4" name="Platshållare för sidfot 3">
            <a:extLst>
              <a:ext uri="{FF2B5EF4-FFF2-40B4-BE49-F238E27FC236}">
                <a16:creationId xmlns:a16="http://schemas.microsoft.com/office/drawing/2014/main" id="{1A136624-8AC2-4588-B18E-8A7DC91A346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970A4850-48E9-4F1A-88CC-7364922E49F0}"/>
              </a:ext>
            </a:extLst>
          </p:cNvPr>
          <p:cNvSpPr>
            <a:spLocks noGrp="1"/>
          </p:cNvSpPr>
          <p:nvPr>
            <p:ph type="sldNum" sz="quarter" idx="12"/>
          </p:nvPr>
        </p:nvSpPr>
        <p:spPr/>
        <p:txBody>
          <a:bodyPr/>
          <a:lstStyle/>
          <a:p>
            <a:fld id="{7FF155A8-5C6D-4241-95DF-81E4F2B16EE5}" type="slidenum">
              <a:rPr lang="sv-SE" smtClean="0"/>
              <a:t>24</a:t>
            </a:fld>
            <a:endParaRPr lang="sv-SE"/>
          </a:p>
        </p:txBody>
      </p:sp>
      <p:pic>
        <p:nvPicPr>
          <p:cNvPr id="8" name="Bildobjekt 7">
            <a:extLst>
              <a:ext uri="{FF2B5EF4-FFF2-40B4-BE49-F238E27FC236}">
                <a16:creationId xmlns:a16="http://schemas.microsoft.com/office/drawing/2014/main" id="{09FFFF8D-0446-4149-8446-7694E98A35A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35232" y="400616"/>
            <a:ext cx="6056768" cy="6056768"/>
          </a:xfrm>
          <a:prstGeom prst="rect">
            <a:avLst/>
          </a:prstGeom>
        </p:spPr>
      </p:pic>
    </p:spTree>
    <p:extLst>
      <p:ext uri="{BB962C8B-B14F-4D97-AF65-F5344CB8AC3E}">
        <p14:creationId xmlns:p14="http://schemas.microsoft.com/office/powerpoint/2010/main" val="4028061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F2FC5FF-2B7C-482C-888C-C207FF29D244}"/>
              </a:ext>
            </a:extLst>
          </p:cNvPr>
          <p:cNvSpPr>
            <a:spLocks noGrp="1"/>
          </p:cNvSpPr>
          <p:nvPr>
            <p:ph type="title"/>
          </p:nvPr>
        </p:nvSpPr>
        <p:spPr>
          <a:xfrm>
            <a:off x="506994" y="84221"/>
            <a:ext cx="10882902" cy="1149264"/>
          </a:xfrm>
        </p:spPr>
        <p:txBody>
          <a:bodyPr/>
          <a:lstStyle/>
          <a:p>
            <a:r>
              <a:rPr lang="sv-SE" dirty="0"/>
              <a:t>Citat från invånare om kommunikationen</a:t>
            </a:r>
          </a:p>
        </p:txBody>
      </p:sp>
      <p:sp>
        <p:nvSpPr>
          <p:cNvPr id="4" name="Platshållare för sidfot 3">
            <a:extLst>
              <a:ext uri="{FF2B5EF4-FFF2-40B4-BE49-F238E27FC236}">
                <a16:creationId xmlns:a16="http://schemas.microsoft.com/office/drawing/2014/main" id="{5CD82B36-6BCD-4F87-A669-09B8A49C65D2}"/>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AFB0F89-54D6-4726-A7D4-F3ABDB77943B}"/>
              </a:ext>
            </a:extLst>
          </p:cNvPr>
          <p:cNvSpPr>
            <a:spLocks noGrp="1"/>
          </p:cNvSpPr>
          <p:nvPr>
            <p:ph type="sldNum" sz="quarter" idx="12"/>
          </p:nvPr>
        </p:nvSpPr>
        <p:spPr/>
        <p:txBody>
          <a:bodyPr/>
          <a:lstStyle/>
          <a:p>
            <a:fld id="{D1B389D8-6223-4B1D-82AB-19C377706A8C}" type="slidenum">
              <a:rPr lang="sv-SE" smtClean="0"/>
              <a:t>25</a:t>
            </a:fld>
            <a:endParaRPr lang="sv-SE"/>
          </a:p>
        </p:txBody>
      </p:sp>
      <p:sp>
        <p:nvSpPr>
          <p:cNvPr id="10" name="Pratbubbla: rektangel 9">
            <a:extLst>
              <a:ext uri="{FF2B5EF4-FFF2-40B4-BE49-F238E27FC236}">
                <a16:creationId xmlns:a16="http://schemas.microsoft.com/office/drawing/2014/main" id="{5E77E0EE-545D-44EA-829F-CB74D8FB4C1A}"/>
              </a:ext>
            </a:extLst>
          </p:cNvPr>
          <p:cNvSpPr/>
          <p:nvPr/>
        </p:nvSpPr>
        <p:spPr>
          <a:xfrm>
            <a:off x="363220" y="4434652"/>
            <a:ext cx="4811803" cy="1367476"/>
          </a:xfrm>
          <a:prstGeom prst="wedgeRectCallout">
            <a:avLst>
              <a:gd name="adj1" fmla="val 46834"/>
              <a:gd name="adj2" fmla="val -10649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i="1" dirty="0">
                <a:solidFill>
                  <a:srgbClr val="000000"/>
                </a:solidFill>
                <a:latin typeface="Segoe UI" panose="020B0502040204020203" pitchFamily="34" charset="0"/>
              </a:rPr>
              <a:t>Man måste få en möjlighet att ställa frågor och kunna få svar på dem. Utan den funktionen är tjänsten helt värdelös. Jag har ingen meddelande funktion, ingen info vart jag kan vända mig med frågor om läkemedel, kost, motion </a:t>
            </a:r>
            <a:r>
              <a:rPr lang="sv-SE" sz="1400" i="1" dirty="0" err="1">
                <a:solidFill>
                  <a:srgbClr val="000000"/>
                </a:solidFill>
                <a:latin typeface="Segoe UI" panose="020B0502040204020203" pitchFamily="34" charset="0"/>
              </a:rPr>
              <a:t>etc</a:t>
            </a:r>
            <a:endParaRPr lang="sv-SE" sz="1400" i="1" dirty="0">
              <a:solidFill>
                <a:srgbClr val="000000"/>
              </a:solidFill>
              <a:latin typeface="Segoe UI" panose="020B0502040204020203" pitchFamily="34" charset="0"/>
            </a:endParaRPr>
          </a:p>
        </p:txBody>
      </p:sp>
      <p:sp>
        <p:nvSpPr>
          <p:cNvPr id="8" name="Pratbubbla: rektangel med rundade hörn 7">
            <a:extLst>
              <a:ext uri="{FF2B5EF4-FFF2-40B4-BE49-F238E27FC236}">
                <a16:creationId xmlns:a16="http://schemas.microsoft.com/office/drawing/2014/main" id="{7DED4DDA-5261-404E-B5FE-793F5E0D9CB1}"/>
              </a:ext>
            </a:extLst>
          </p:cNvPr>
          <p:cNvSpPr/>
          <p:nvPr/>
        </p:nvSpPr>
        <p:spPr>
          <a:xfrm>
            <a:off x="7337579" y="139583"/>
            <a:ext cx="3951181" cy="1666825"/>
          </a:xfrm>
          <a:prstGeom prst="wedgeRoundRectCallout">
            <a:avLst>
              <a:gd name="adj1" fmla="val -69299"/>
              <a:gd name="adj2" fmla="val 92592"/>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0" i="1" dirty="0">
                <a:solidFill>
                  <a:srgbClr val="000000"/>
                </a:solidFill>
                <a:effectLst/>
                <a:latin typeface="Segoe UI" panose="020B0502040204020203" pitchFamily="34" charset="0"/>
              </a:rPr>
              <a:t>Mycket, om inte allt, beror på behandlare. Eftersom jag har en väldigt bra behandlare, är jag nöjd med behandlingen. Det vore bra med oftare möten med behandlare, åtminstone videomöten</a:t>
            </a:r>
            <a:endParaRPr lang="sv-SE" sz="1400" i="1" dirty="0"/>
          </a:p>
        </p:txBody>
      </p:sp>
      <p:sp>
        <p:nvSpPr>
          <p:cNvPr id="11" name="Platshållare för innehåll 5">
            <a:extLst>
              <a:ext uri="{FF2B5EF4-FFF2-40B4-BE49-F238E27FC236}">
                <a16:creationId xmlns:a16="http://schemas.microsoft.com/office/drawing/2014/main" id="{F52F71AB-097D-4F16-A3E3-E8029ADA6C56}"/>
              </a:ext>
            </a:extLst>
          </p:cNvPr>
          <p:cNvSpPr>
            <a:spLocks noGrp="1"/>
          </p:cNvSpPr>
          <p:nvPr>
            <p:ph idx="1"/>
          </p:nvPr>
        </p:nvSpPr>
        <p:spPr>
          <a:xfrm>
            <a:off x="755966" y="1334968"/>
            <a:ext cx="3624897" cy="2312227"/>
          </a:xfrm>
          <a:prstGeom prst="wedgeEllipseCallout">
            <a:avLst>
              <a:gd name="adj1" fmla="val 67319"/>
              <a:gd name="adj2" fmla="val 11207"/>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sv-SE" sz="1400" i="1" dirty="0">
                <a:solidFill>
                  <a:srgbClr val="000000"/>
                </a:solidFill>
                <a:latin typeface="Segoe UI" panose="020B0502040204020203" pitchFamily="34" charset="0"/>
              </a:rPr>
              <a:t>Önskar personlig information och stöd. Alla har inte samma behov. All info är byggts på när diagnostisering går via ”vanlig” väg/sätt. Som patient vet man ingenting om hur/ vad ska hända med en och detta är inte rätta forum åt alla</a:t>
            </a:r>
          </a:p>
        </p:txBody>
      </p:sp>
      <p:sp>
        <p:nvSpPr>
          <p:cNvPr id="9" name="Pratbubbla: rektangel 8">
            <a:extLst>
              <a:ext uri="{FF2B5EF4-FFF2-40B4-BE49-F238E27FC236}">
                <a16:creationId xmlns:a16="http://schemas.microsoft.com/office/drawing/2014/main" id="{539027DB-5C49-4BA7-B045-2DEE91F78382}"/>
              </a:ext>
            </a:extLst>
          </p:cNvPr>
          <p:cNvSpPr/>
          <p:nvPr/>
        </p:nvSpPr>
        <p:spPr>
          <a:xfrm>
            <a:off x="7102957" y="3845749"/>
            <a:ext cx="4793789" cy="1956379"/>
          </a:xfrm>
          <a:prstGeom prst="wedgeRectCallout">
            <a:avLst>
              <a:gd name="adj1" fmla="val -65287"/>
              <a:gd name="adj2" fmla="val -56062"/>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r>
              <a:rPr lang="sv-SE" sz="1400" i="1" dirty="0">
                <a:solidFill>
                  <a:srgbClr val="000000"/>
                </a:solidFill>
                <a:latin typeface="Segoe UI" panose="020B0502040204020203" pitchFamily="34" charset="0"/>
              </a:rPr>
              <a:t>Jag fick aldrig inte svar på mina frågor i ”meddelande”. Jag har fått flera meddelanden om att ” det var länge sedan du loggade in” och att jag ska meddela om jag vill avsluta, men ingen vägledning om varför jag är kvar eller vad jag ska använda fortsättningen till. Känns väldigt automatiskt, men utan mening. Skulle kunna vara bra, men behöver utvecklas mycket!</a:t>
            </a:r>
          </a:p>
        </p:txBody>
      </p:sp>
      <p:sp>
        <p:nvSpPr>
          <p:cNvPr id="13" name="Platshållare för innehåll 5">
            <a:extLst>
              <a:ext uri="{FF2B5EF4-FFF2-40B4-BE49-F238E27FC236}">
                <a16:creationId xmlns:a16="http://schemas.microsoft.com/office/drawing/2014/main" id="{E7F5C078-EA70-4C59-9D19-5AB3975ED427}"/>
              </a:ext>
            </a:extLst>
          </p:cNvPr>
          <p:cNvSpPr txBox="1">
            <a:spLocks/>
          </p:cNvSpPr>
          <p:nvPr/>
        </p:nvSpPr>
        <p:spPr>
          <a:xfrm>
            <a:off x="8661040" y="1931820"/>
            <a:ext cx="2728856" cy="1663106"/>
          </a:xfrm>
          <a:prstGeom prst="wedgeEllipseCallout">
            <a:avLst>
              <a:gd name="adj1" fmla="val -129967"/>
              <a:gd name="adj2" fmla="val 20284"/>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Font typeface="Arial" panose="020B0604020202020204" pitchFamily="34" charset="0"/>
              <a:buNone/>
            </a:pPr>
            <a:r>
              <a:rPr lang="sv-SE" sz="1400" i="1">
                <a:solidFill>
                  <a:srgbClr val="000000"/>
                </a:solidFill>
                <a:latin typeface="Segoe UI" panose="020B0502040204020203" pitchFamily="34" charset="0"/>
              </a:rPr>
              <a:t>Att inte ha övertro på det. Personligt möte är fortfarande viktigast</a:t>
            </a:r>
            <a:endParaRPr lang="sv-SE" sz="1400" i="1" dirty="0">
              <a:solidFill>
                <a:srgbClr val="000000"/>
              </a:solidFill>
              <a:latin typeface="Segoe UI" panose="020B0502040204020203" pitchFamily="34" charset="0"/>
            </a:endParaRPr>
          </a:p>
        </p:txBody>
      </p:sp>
      <p:pic>
        <p:nvPicPr>
          <p:cNvPr id="14" name="Bildobjekt 13">
            <a:extLst>
              <a:ext uri="{FF2B5EF4-FFF2-40B4-BE49-F238E27FC236}">
                <a16:creationId xmlns:a16="http://schemas.microsoft.com/office/drawing/2014/main" id="{2E32DB76-FB05-4D3E-887B-28FE7A086DC1}"/>
              </a:ext>
            </a:extLst>
          </p:cNvPr>
          <p:cNvPicPr>
            <a:picLocks noChangeAspect="1"/>
          </p:cNvPicPr>
          <p:nvPr/>
        </p:nvPicPr>
        <p:blipFill>
          <a:blip r:embed="rId2"/>
          <a:stretch>
            <a:fillRect/>
          </a:stretch>
        </p:blipFill>
        <p:spPr>
          <a:xfrm>
            <a:off x="5247623" y="1931820"/>
            <a:ext cx="963794" cy="1950001"/>
          </a:xfrm>
          <a:prstGeom prst="rect">
            <a:avLst/>
          </a:prstGeom>
        </p:spPr>
      </p:pic>
    </p:spTree>
    <p:extLst>
      <p:ext uri="{BB962C8B-B14F-4D97-AF65-F5344CB8AC3E}">
        <p14:creationId xmlns:p14="http://schemas.microsoft.com/office/powerpoint/2010/main" val="2174837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C64F405-0139-4521-B2C9-4544B6FA377D}"/>
              </a:ext>
            </a:extLst>
          </p:cNvPr>
          <p:cNvSpPr>
            <a:spLocks noGrp="1"/>
          </p:cNvSpPr>
          <p:nvPr>
            <p:ph type="title"/>
          </p:nvPr>
        </p:nvSpPr>
        <p:spPr/>
        <p:txBody>
          <a:bodyPr/>
          <a:lstStyle/>
          <a:p>
            <a:r>
              <a:rPr lang="sv-SE" dirty="0"/>
              <a:t>Lämpligheten</a:t>
            </a:r>
          </a:p>
        </p:txBody>
      </p:sp>
      <p:sp>
        <p:nvSpPr>
          <p:cNvPr id="3" name="Platshållare för innehåll 2">
            <a:extLst>
              <a:ext uri="{FF2B5EF4-FFF2-40B4-BE49-F238E27FC236}">
                <a16:creationId xmlns:a16="http://schemas.microsoft.com/office/drawing/2014/main" id="{480CE4E3-88E2-463C-8A2E-AFBCE2E2E8EC}"/>
              </a:ext>
            </a:extLst>
          </p:cNvPr>
          <p:cNvSpPr>
            <a:spLocks noGrp="1"/>
          </p:cNvSpPr>
          <p:nvPr>
            <p:ph idx="1"/>
          </p:nvPr>
        </p:nvSpPr>
        <p:spPr>
          <a:xfrm>
            <a:off x="874296" y="1563609"/>
            <a:ext cx="9378068" cy="3564527"/>
          </a:xfrm>
        </p:spPr>
        <p:txBody>
          <a:bodyPr/>
          <a:lstStyle/>
          <a:p>
            <a:pPr marL="0" indent="0">
              <a:buNone/>
            </a:pPr>
            <a:r>
              <a:rPr lang="sv-SE" sz="1800" b="0" u="none" baseline="0" dirty="0"/>
              <a:t>Har invånaren rätt förutsättningar? </a:t>
            </a:r>
          </a:p>
          <a:p>
            <a:r>
              <a:rPr lang="sv-SE" sz="1800" b="0" u="none" baseline="0" dirty="0"/>
              <a:t>Tillgång till lämplig enhet? </a:t>
            </a:r>
            <a:endParaRPr lang="sv-SE" b="0" u="none" baseline="0" dirty="0"/>
          </a:p>
          <a:p>
            <a:r>
              <a:rPr lang="sv-SE" sz="1800" b="0" u="none" baseline="0" dirty="0"/>
              <a:t> Tillgång till pålitligt nätverk? </a:t>
            </a:r>
          </a:p>
          <a:p>
            <a:r>
              <a:rPr lang="sv-SE" dirty="0"/>
              <a:t>Har invånaren rätt språkkunskaper?</a:t>
            </a:r>
            <a:endParaRPr lang="sv-SE" sz="1800" b="0" u="none" baseline="0" dirty="0"/>
          </a:p>
          <a:p>
            <a:r>
              <a:rPr lang="sv-SE" sz="1800" b="0" u="none" baseline="0" dirty="0"/>
              <a:t>Datorvana? </a:t>
            </a:r>
          </a:p>
          <a:p>
            <a:pPr lvl="1"/>
            <a:r>
              <a:rPr lang="sv-SE" dirty="0"/>
              <a:t>Många uttryckte att de har låg datorvana och därmed känner sig osäkra i tjänsten. </a:t>
            </a:r>
            <a:endParaRPr lang="sv-SE" b="0" u="none" baseline="0" dirty="0"/>
          </a:p>
          <a:p>
            <a:r>
              <a:rPr lang="sv-SE" sz="1800" b="0" u="none" baseline="0" dirty="0"/>
              <a:t>Hälsotillstånd? </a:t>
            </a:r>
          </a:p>
          <a:p>
            <a:pPr lvl="1"/>
            <a:r>
              <a:rPr lang="sv-SE" dirty="0"/>
              <a:t>Många uttryckte stor frustation över att deras hälsotillstånd försämrades genom att digitala behandlingar. </a:t>
            </a:r>
            <a:endParaRPr lang="sv-SE" b="0" u="none" baseline="0" dirty="0"/>
          </a:p>
          <a:p>
            <a:r>
              <a:rPr lang="sv-SE" sz="1800" b="0" u="none" baseline="0" dirty="0"/>
              <a:t>Behoven av analogt vs digitalt innehåll?</a:t>
            </a:r>
          </a:p>
          <a:p>
            <a:pPr lvl="1"/>
            <a:r>
              <a:rPr lang="sv-SE" dirty="0"/>
              <a:t>En del uttryckte en önskan ha mer analoga behandlingar. </a:t>
            </a:r>
            <a:endParaRPr lang="sv-SE" b="0" u="none" baseline="0" dirty="0"/>
          </a:p>
          <a:p>
            <a:endParaRPr lang="sv-SE" dirty="0"/>
          </a:p>
        </p:txBody>
      </p:sp>
      <p:sp>
        <p:nvSpPr>
          <p:cNvPr id="4" name="Platshållare för sidfot 3">
            <a:extLst>
              <a:ext uri="{FF2B5EF4-FFF2-40B4-BE49-F238E27FC236}">
                <a16:creationId xmlns:a16="http://schemas.microsoft.com/office/drawing/2014/main" id="{995E2B21-7EBF-4C36-96CE-D726DCA10A8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93F39415-F55C-4759-AC79-CCE50A3E9F60}"/>
              </a:ext>
            </a:extLst>
          </p:cNvPr>
          <p:cNvSpPr>
            <a:spLocks noGrp="1"/>
          </p:cNvSpPr>
          <p:nvPr>
            <p:ph type="sldNum" sz="quarter" idx="12"/>
          </p:nvPr>
        </p:nvSpPr>
        <p:spPr/>
        <p:txBody>
          <a:bodyPr/>
          <a:lstStyle/>
          <a:p>
            <a:fld id="{7FF155A8-5C6D-4241-95DF-81E4F2B16EE5}" type="slidenum">
              <a:rPr lang="sv-SE" smtClean="0"/>
              <a:t>26</a:t>
            </a:fld>
            <a:endParaRPr lang="sv-SE"/>
          </a:p>
        </p:txBody>
      </p:sp>
      <p:pic>
        <p:nvPicPr>
          <p:cNvPr id="10" name="Bildobjekt 9">
            <a:extLst>
              <a:ext uri="{FF2B5EF4-FFF2-40B4-BE49-F238E27FC236}">
                <a16:creationId xmlns:a16="http://schemas.microsoft.com/office/drawing/2014/main" id="{47E12659-A82A-4515-A69A-60ADC783DF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8916" y="84221"/>
            <a:ext cx="4303084" cy="3274378"/>
          </a:xfrm>
          <a:prstGeom prst="rect">
            <a:avLst/>
          </a:prstGeom>
        </p:spPr>
      </p:pic>
    </p:spTree>
    <p:extLst>
      <p:ext uri="{BB962C8B-B14F-4D97-AF65-F5344CB8AC3E}">
        <p14:creationId xmlns:p14="http://schemas.microsoft.com/office/powerpoint/2010/main" val="54612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D999D65-7376-4EC3-B33B-387FB1A761CF}"/>
              </a:ext>
            </a:extLst>
          </p:cNvPr>
          <p:cNvSpPr>
            <a:spLocks noGrp="1"/>
          </p:cNvSpPr>
          <p:nvPr>
            <p:ph type="title"/>
          </p:nvPr>
        </p:nvSpPr>
        <p:spPr/>
        <p:txBody>
          <a:bodyPr/>
          <a:lstStyle/>
          <a:p>
            <a:r>
              <a:rPr lang="sv-SE" dirty="0"/>
              <a:t>Citat om lämpligheten</a:t>
            </a:r>
          </a:p>
        </p:txBody>
      </p:sp>
      <p:sp>
        <p:nvSpPr>
          <p:cNvPr id="4" name="Platshållare för sidfot 3">
            <a:extLst>
              <a:ext uri="{FF2B5EF4-FFF2-40B4-BE49-F238E27FC236}">
                <a16:creationId xmlns:a16="http://schemas.microsoft.com/office/drawing/2014/main" id="{BA64BA0A-62F9-43AD-A9F5-B9F139A50C11}"/>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B45EDAB2-5D6E-4FBE-87D5-942AF2D3DA8E}"/>
              </a:ext>
            </a:extLst>
          </p:cNvPr>
          <p:cNvSpPr>
            <a:spLocks noGrp="1"/>
          </p:cNvSpPr>
          <p:nvPr>
            <p:ph type="sldNum" sz="quarter" idx="12"/>
          </p:nvPr>
        </p:nvSpPr>
        <p:spPr/>
        <p:txBody>
          <a:bodyPr/>
          <a:lstStyle/>
          <a:p>
            <a:fld id="{7FF155A8-5C6D-4241-95DF-81E4F2B16EE5}" type="slidenum">
              <a:rPr lang="sv-SE" smtClean="0"/>
              <a:t>27</a:t>
            </a:fld>
            <a:endParaRPr lang="sv-SE"/>
          </a:p>
        </p:txBody>
      </p:sp>
      <p:sp>
        <p:nvSpPr>
          <p:cNvPr id="7" name="Platshållare för innehåll 5">
            <a:extLst>
              <a:ext uri="{FF2B5EF4-FFF2-40B4-BE49-F238E27FC236}">
                <a16:creationId xmlns:a16="http://schemas.microsoft.com/office/drawing/2014/main" id="{13937DC4-E22B-4F74-B170-C547ACDCB3F0}"/>
              </a:ext>
            </a:extLst>
          </p:cNvPr>
          <p:cNvSpPr txBox="1">
            <a:spLocks/>
          </p:cNvSpPr>
          <p:nvPr/>
        </p:nvSpPr>
        <p:spPr>
          <a:xfrm>
            <a:off x="200299" y="1283521"/>
            <a:ext cx="4118395" cy="2668205"/>
          </a:xfrm>
          <a:prstGeom prst="wedgeEllipseCallout">
            <a:avLst>
              <a:gd name="adj1" fmla="val 65279"/>
              <a:gd name="adj2" fmla="val 18332"/>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Font typeface="Arial" panose="020B0604020202020204" pitchFamily="34" charset="0"/>
              <a:buNone/>
            </a:pPr>
            <a:r>
              <a:rPr lang="sv-SE" sz="1400" i="1" dirty="0">
                <a:solidFill>
                  <a:srgbClr val="000000"/>
                </a:solidFill>
                <a:latin typeface="Segoe UI" panose="020B0502040204020203" pitchFamily="34" charset="0"/>
              </a:rPr>
              <a:t>Att inte skicka personer med svår ångest till en sida på internet. Det tar lång tid innan man tar sig i kragen att ens söka hjälp och då få ”hjälpen” via en skärm känns lite som att man inte blir tagen på allvar. Jag hade behövt samtal med en människa. Inte kolla på en skärm. Men det löste jag själv på annat sätt. Tänker på de människor som inte har orken att söka hjälp på annat håll.</a:t>
            </a:r>
          </a:p>
        </p:txBody>
      </p:sp>
      <p:sp>
        <p:nvSpPr>
          <p:cNvPr id="8" name="Pratbubbla: rektangel med rundade hörn 7">
            <a:extLst>
              <a:ext uri="{FF2B5EF4-FFF2-40B4-BE49-F238E27FC236}">
                <a16:creationId xmlns:a16="http://schemas.microsoft.com/office/drawing/2014/main" id="{5853B230-55D9-4345-9611-422600A5DB1E}"/>
              </a:ext>
            </a:extLst>
          </p:cNvPr>
          <p:cNvSpPr/>
          <p:nvPr/>
        </p:nvSpPr>
        <p:spPr>
          <a:xfrm>
            <a:off x="7763092" y="84221"/>
            <a:ext cx="3951181" cy="1666825"/>
          </a:xfrm>
          <a:prstGeom prst="wedgeRoundRectCallout">
            <a:avLst>
              <a:gd name="adj1" fmla="val -74111"/>
              <a:gd name="adj2" fmla="val 103998"/>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i="1" dirty="0">
                <a:solidFill>
                  <a:srgbClr val="000000"/>
                </a:solidFill>
                <a:latin typeface="Segoe UI" panose="020B0502040204020203" pitchFamily="34" charset="0"/>
              </a:rPr>
              <a:t>Behandlare bör rekommendera detta till patienter som nyligen blivit hamnat i depression. För mig med återkommande depressioner fungerar inte den här typen av behandling.</a:t>
            </a:r>
            <a:r>
              <a:rPr lang="sv-SE" sz="1400" i="1" dirty="0"/>
              <a:t>.</a:t>
            </a:r>
          </a:p>
        </p:txBody>
      </p:sp>
      <p:sp>
        <p:nvSpPr>
          <p:cNvPr id="9" name="Pratbubbla: rektangel 8">
            <a:extLst>
              <a:ext uri="{FF2B5EF4-FFF2-40B4-BE49-F238E27FC236}">
                <a16:creationId xmlns:a16="http://schemas.microsoft.com/office/drawing/2014/main" id="{981CEEB0-A550-4F95-AC38-F2C943B00D13}"/>
              </a:ext>
            </a:extLst>
          </p:cNvPr>
          <p:cNvSpPr/>
          <p:nvPr/>
        </p:nvSpPr>
        <p:spPr>
          <a:xfrm>
            <a:off x="6809288" y="4851638"/>
            <a:ext cx="4697668" cy="1149264"/>
          </a:xfrm>
          <a:prstGeom prst="wedgeRectCallout">
            <a:avLst>
              <a:gd name="adj1" fmla="val -56758"/>
              <a:gd name="adj2" fmla="val -105832"/>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i="1" dirty="0">
                <a:solidFill>
                  <a:srgbClr val="000000"/>
                </a:solidFill>
                <a:latin typeface="Segoe UI" panose="020B0502040204020203" pitchFamily="34" charset="0"/>
              </a:rPr>
              <a:t>Tänker att stöd och behandling kan användas mer i ett förebyggande syfte/begynnande oro. Är man stressad och orolig av sig är det svårt att förstå vissa övningar/miljön, ganska rörig. /…/</a:t>
            </a:r>
          </a:p>
        </p:txBody>
      </p:sp>
      <p:pic>
        <p:nvPicPr>
          <p:cNvPr id="11" name="Bildobjekt 10">
            <a:extLst>
              <a:ext uri="{FF2B5EF4-FFF2-40B4-BE49-F238E27FC236}">
                <a16:creationId xmlns:a16="http://schemas.microsoft.com/office/drawing/2014/main" id="{666EB19A-C237-465D-B2E1-6C63261689D1}"/>
              </a:ext>
            </a:extLst>
          </p:cNvPr>
          <p:cNvPicPr>
            <a:picLocks noChangeAspect="1"/>
          </p:cNvPicPr>
          <p:nvPr/>
        </p:nvPicPr>
        <p:blipFill>
          <a:blip r:embed="rId2"/>
          <a:stretch>
            <a:fillRect/>
          </a:stretch>
        </p:blipFill>
        <p:spPr>
          <a:xfrm>
            <a:off x="5146156" y="2385830"/>
            <a:ext cx="1311327" cy="2566527"/>
          </a:xfrm>
          <a:prstGeom prst="rect">
            <a:avLst/>
          </a:prstGeom>
        </p:spPr>
      </p:pic>
      <p:sp>
        <p:nvSpPr>
          <p:cNvPr id="12" name="Platshållare för innehåll 5">
            <a:extLst>
              <a:ext uri="{FF2B5EF4-FFF2-40B4-BE49-F238E27FC236}">
                <a16:creationId xmlns:a16="http://schemas.microsoft.com/office/drawing/2014/main" id="{136C5E29-F087-4EB4-A27F-62B2F5D63085}"/>
              </a:ext>
            </a:extLst>
          </p:cNvPr>
          <p:cNvSpPr txBox="1">
            <a:spLocks/>
          </p:cNvSpPr>
          <p:nvPr/>
        </p:nvSpPr>
        <p:spPr>
          <a:xfrm>
            <a:off x="7888359" y="2006362"/>
            <a:ext cx="3834969" cy="2566527"/>
          </a:xfrm>
          <a:prstGeom prst="wedgeEllipseCallout">
            <a:avLst>
              <a:gd name="adj1" fmla="val -85726"/>
              <a:gd name="adj2" fmla="val -6865"/>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Font typeface="Arial" panose="020B0604020202020204" pitchFamily="34" charset="0"/>
              <a:buNone/>
            </a:pPr>
            <a:r>
              <a:rPr lang="sv-SE" sz="1400" i="1" dirty="0">
                <a:solidFill>
                  <a:srgbClr val="000000"/>
                </a:solidFill>
                <a:latin typeface="Segoe UI" panose="020B0502040204020203" pitchFamily="34" charset="0"/>
              </a:rPr>
              <a:t>Det är väldigt tråkigt att när man har ett barn som får autismdiagnos vara hänvisad till den här webtjänsten allena. Vad man vill är ju att träffa en människa, prata om det här och få råd. Nu vet jag egentligen inte vad vi ska göra eller vart vi ska vända oss. Känner mig rätt rådvill.</a:t>
            </a:r>
          </a:p>
        </p:txBody>
      </p:sp>
      <p:sp>
        <p:nvSpPr>
          <p:cNvPr id="13" name="Pratbubbla: rektangel med rundade hörn 12">
            <a:extLst>
              <a:ext uri="{FF2B5EF4-FFF2-40B4-BE49-F238E27FC236}">
                <a16:creationId xmlns:a16="http://schemas.microsoft.com/office/drawing/2014/main" id="{F00A7AC8-2F5A-4701-9612-AE2907F17BCA}"/>
              </a:ext>
            </a:extLst>
          </p:cNvPr>
          <p:cNvSpPr/>
          <p:nvPr/>
        </p:nvSpPr>
        <p:spPr>
          <a:xfrm>
            <a:off x="268585" y="4373636"/>
            <a:ext cx="4549801" cy="1627266"/>
          </a:xfrm>
          <a:prstGeom prst="wedgeRoundRectCallout">
            <a:avLst>
              <a:gd name="adj1" fmla="val 52235"/>
              <a:gd name="adj2" fmla="val -85282"/>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Det känns som ett trubbigt instrument. Jag som har </a:t>
            </a:r>
            <a:r>
              <a:rPr lang="sv-SE" sz="1400" i="1" dirty="0" err="1">
                <a:solidFill>
                  <a:srgbClr val="000000"/>
                </a:solidFill>
                <a:latin typeface="Segoe UI" panose="020B0502040204020203" pitchFamily="34" charset="0"/>
              </a:rPr>
              <a:t>postcovid</a:t>
            </a:r>
            <a:r>
              <a:rPr lang="sv-SE" sz="1400" i="1" dirty="0">
                <a:solidFill>
                  <a:srgbClr val="000000"/>
                </a:solidFill>
                <a:latin typeface="Segoe UI" panose="020B0502040204020203" pitchFamily="34" charset="0"/>
              </a:rPr>
              <a:t> och är fysiskt och mentalt trött, kanske behöver en annan typ av hjälp. Att se ett klipp om att jag bör gå ut även när delar emot, upplever det svårt att fylla i en självskattning efter en utmattad dag i soffan. Det skapar skam istället för att uppmuntra för min del.</a:t>
            </a:r>
          </a:p>
        </p:txBody>
      </p:sp>
      <p:sp>
        <p:nvSpPr>
          <p:cNvPr id="16" name="Pratbubbla: rektangel 15">
            <a:extLst>
              <a:ext uri="{FF2B5EF4-FFF2-40B4-BE49-F238E27FC236}">
                <a16:creationId xmlns:a16="http://schemas.microsoft.com/office/drawing/2014/main" id="{94FD8ED1-19F9-4F5A-ADBF-3916C8187EDA}"/>
              </a:ext>
            </a:extLst>
          </p:cNvPr>
          <p:cNvSpPr/>
          <p:nvPr/>
        </p:nvSpPr>
        <p:spPr>
          <a:xfrm>
            <a:off x="4584167" y="180902"/>
            <a:ext cx="2913451" cy="1149264"/>
          </a:xfrm>
          <a:prstGeom prst="wedgeRectCallout">
            <a:avLst>
              <a:gd name="adj1" fmla="val -15908"/>
              <a:gd name="adj2" fmla="val 103712"/>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Eftersom jag har läs och skriv svårigheter hade de underlättat om de inte var så mycket text för de kan göra att jag inte förstår allt ja läser</a:t>
            </a:r>
          </a:p>
        </p:txBody>
      </p:sp>
    </p:spTree>
    <p:extLst>
      <p:ext uri="{BB962C8B-B14F-4D97-AF65-F5344CB8AC3E}">
        <p14:creationId xmlns:p14="http://schemas.microsoft.com/office/powerpoint/2010/main" val="2868620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C6E6EFF-6F0C-40FA-A1F1-4200208AFAB3}"/>
              </a:ext>
            </a:extLst>
          </p:cNvPr>
          <p:cNvSpPr>
            <a:spLocks noGrp="1"/>
          </p:cNvSpPr>
          <p:nvPr>
            <p:ph type="title"/>
          </p:nvPr>
        </p:nvSpPr>
        <p:spPr/>
        <p:txBody>
          <a:bodyPr/>
          <a:lstStyle/>
          <a:p>
            <a:r>
              <a:rPr lang="sv-SE" dirty="0"/>
              <a:t>Uppsamlade aviseringar</a:t>
            </a:r>
          </a:p>
        </p:txBody>
      </p:sp>
      <p:sp>
        <p:nvSpPr>
          <p:cNvPr id="3" name="Platshållare för innehåll 2">
            <a:extLst>
              <a:ext uri="{FF2B5EF4-FFF2-40B4-BE49-F238E27FC236}">
                <a16:creationId xmlns:a16="http://schemas.microsoft.com/office/drawing/2014/main" id="{F658FA8C-A58A-49BA-A987-A05FFDEC1F5C}"/>
              </a:ext>
            </a:extLst>
          </p:cNvPr>
          <p:cNvSpPr>
            <a:spLocks noGrp="1"/>
          </p:cNvSpPr>
          <p:nvPr>
            <p:ph idx="1"/>
          </p:nvPr>
        </p:nvSpPr>
        <p:spPr>
          <a:xfrm>
            <a:off x="922424" y="1693273"/>
            <a:ext cx="6448194" cy="3564527"/>
          </a:xfrm>
        </p:spPr>
        <p:txBody>
          <a:bodyPr/>
          <a:lstStyle/>
          <a:p>
            <a:pPr marL="0" indent="0">
              <a:buNone/>
            </a:pPr>
            <a:r>
              <a:rPr lang="sv-SE" dirty="0"/>
              <a:t>Svårt för invånaren att förstå uppsamlade aviseringar. De upplevde att de fick aviseringar om händelser i momentet men när de loggade in saknades nya händelser. </a:t>
            </a:r>
          </a:p>
          <a:p>
            <a:pPr marL="0" indent="0">
              <a:buNone/>
            </a:pPr>
            <a:endParaRPr lang="sv-SE" dirty="0"/>
          </a:p>
          <a:p>
            <a:pPr marL="0" indent="0">
              <a:buNone/>
            </a:pPr>
            <a:r>
              <a:rPr lang="sv-SE" dirty="0"/>
              <a:t>Bra om invånaren uppmärksammas om att det finns sådana aviseringar och kanske även påminns om det under momentens gång. </a:t>
            </a:r>
          </a:p>
        </p:txBody>
      </p:sp>
      <p:sp>
        <p:nvSpPr>
          <p:cNvPr id="4" name="Platshållare för sidfot 3">
            <a:extLst>
              <a:ext uri="{FF2B5EF4-FFF2-40B4-BE49-F238E27FC236}">
                <a16:creationId xmlns:a16="http://schemas.microsoft.com/office/drawing/2014/main" id="{003A3274-C4E4-4B6A-8A29-93FA1E4549F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B28F2BB-DC23-480C-A349-24302F52EA22}"/>
              </a:ext>
            </a:extLst>
          </p:cNvPr>
          <p:cNvSpPr>
            <a:spLocks noGrp="1"/>
          </p:cNvSpPr>
          <p:nvPr>
            <p:ph type="sldNum" sz="quarter" idx="12"/>
          </p:nvPr>
        </p:nvSpPr>
        <p:spPr/>
        <p:txBody>
          <a:bodyPr/>
          <a:lstStyle/>
          <a:p>
            <a:fld id="{7FF155A8-5C6D-4241-95DF-81E4F2B16EE5}" type="slidenum">
              <a:rPr lang="sv-SE" smtClean="0"/>
              <a:t>28</a:t>
            </a:fld>
            <a:endParaRPr lang="sv-SE"/>
          </a:p>
        </p:txBody>
      </p:sp>
      <p:pic>
        <p:nvPicPr>
          <p:cNvPr id="8" name="Bildobjekt 7">
            <a:extLst>
              <a:ext uri="{FF2B5EF4-FFF2-40B4-BE49-F238E27FC236}">
                <a16:creationId xmlns:a16="http://schemas.microsoft.com/office/drawing/2014/main" id="{62D76588-DCD9-430E-9C77-14B62FA343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3564" y="4224632"/>
            <a:ext cx="1558741" cy="1876353"/>
          </a:xfrm>
          <a:prstGeom prst="rect">
            <a:avLst/>
          </a:prstGeom>
        </p:spPr>
      </p:pic>
      <p:pic>
        <p:nvPicPr>
          <p:cNvPr id="9" name="Bildobjekt 8">
            <a:extLst>
              <a:ext uri="{FF2B5EF4-FFF2-40B4-BE49-F238E27FC236}">
                <a16:creationId xmlns:a16="http://schemas.microsoft.com/office/drawing/2014/main" id="{7523D944-ECF3-4579-8C05-390B97408E8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9751" y="4222825"/>
            <a:ext cx="1558741" cy="1876353"/>
          </a:xfrm>
          <a:prstGeom prst="rect">
            <a:avLst/>
          </a:prstGeom>
        </p:spPr>
      </p:pic>
      <p:pic>
        <p:nvPicPr>
          <p:cNvPr id="10" name="Bildobjekt 9">
            <a:extLst>
              <a:ext uri="{FF2B5EF4-FFF2-40B4-BE49-F238E27FC236}">
                <a16:creationId xmlns:a16="http://schemas.microsoft.com/office/drawing/2014/main" id="{37DD22E8-7A22-422E-A87B-3D6783E870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81698" y="4222826"/>
            <a:ext cx="1558741" cy="1876353"/>
          </a:xfrm>
          <a:prstGeom prst="rect">
            <a:avLst/>
          </a:prstGeom>
        </p:spPr>
      </p:pic>
      <p:pic>
        <p:nvPicPr>
          <p:cNvPr id="11" name="Bildobjekt 10">
            <a:extLst>
              <a:ext uri="{FF2B5EF4-FFF2-40B4-BE49-F238E27FC236}">
                <a16:creationId xmlns:a16="http://schemas.microsoft.com/office/drawing/2014/main" id="{3261A023-D617-4E56-8879-BDCD8689DA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40439" y="4222827"/>
            <a:ext cx="1558741" cy="1876353"/>
          </a:xfrm>
          <a:prstGeom prst="rect">
            <a:avLst/>
          </a:prstGeom>
        </p:spPr>
      </p:pic>
      <p:pic>
        <p:nvPicPr>
          <p:cNvPr id="12" name="Bildobjekt 11">
            <a:extLst>
              <a:ext uri="{FF2B5EF4-FFF2-40B4-BE49-F238E27FC236}">
                <a16:creationId xmlns:a16="http://schemas.microsoft.com/office/drawing/2014/main" id="{4055CB61-D04D-4051-910A-6D5D744EB2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94427" y="4226541"/>
            <a:ext cx="1558741" cy="1876353"/>
          </a:xfrm>
          <a:prstGeom prst="rect">
            <a:avLst/>
          </a:prstGeom>
        </p:spPr>
      </p:pic>
      <p:pic>
        <p:nvPicPr>
          <p:cNvPr id="13" name="Bildobjekt 12">
            <a:extLst>
              <a:ext uri="{FF2B5EF4-FFF2-40B4-BE49-F238E27FC236}">
                <a16:creationId xmlns:a16="http://schemas.microsoft.com/office/drawing/2014/main" id="{0326441D-233E-4EF3-BB05-2C1FB1709F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60614" y="4226542"/>
            <a:ext cx="1558741" cy="1876353"/>
          </a:xfrm>
          <a:prstGeom prst="rect">
            <a:avLst/>
          </a:prstGeom>
        </p:spPr>
      </p:pic>
      <p:pic>
        <p:nvPicPr>
          <p:cNvPr id="14" name="Bildobjekt 13">
            <a:extLst>
              <a:ext uri="{FF2B5EF4-FFF2-40B4-BE49-F238E27FC236}">
                <a16:creationId xmlns:a16="http://schemas.microsoft.com/office/drawing/2014/main" id="{053A8A6C-667C-42CE-B6DC-E03CF9D86B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26801" y="4226542"/>
            <a:ext cx="1558741" cy="1876353"/>
          </a:xfrm>
          <a:prstGeom prst="rect">
            <a:avLst/>
          </a:prstGeom>
        </p:spPr>
      </p:pic>
    </p:spTree>
    <p:extLst>
      <p:ext uri="{BB962C8B-B14F-4D97-AF65-F5344CB8AC3E}">
        <p14:creationId xmlns:p14="http://schemas.microsoft.com/office/powerpoint/2010/main" val="50843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CED173-301F-4A9A-BF53-E0191946B8A1}"/>
              </a:ext>
            </a:extLst>
          </p:cNvPr>
          <p:cNvSpPr>
            <a:spLocks noGrp="1"/>
          </p:cNvSpPr>
          <p:nvPr>
            <p:ph type="title"/>
          </p:nvPr>
        </p:nvSpPr>
        <p:spPr/>
        <p:txBody>
          <a:bodyPr/>
          <a:lstStyle/>
          <a:p>
            <a:r>
              <a:rPr lang="sv-SE" dirty="0"/>
              <a:t>Positiva ord har också inkommit ….</a:t>
            </a:r>
          </a:p>
        </p:txBody>
      </p:sp>
      <p:sp>
        <p:nvSpPr>
          <p:cNvPr id="4" name="Platshållare för sidfot 3">
            <a:extLst>
              <a:ext uri="{FF2B5EF4-FFF2-40B4-BE49-F238E27FC236}">
                <a16:creationId xmlns:a16="http://schemas.microsoft.com/office/drawing/2014/main" id="{C272FE05-BED5-459F-BC8A-642B8C84A16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07C21AE-F19A-4DEF-AD9C-F5A35B41CC93}"/>
              </a:ext>
            </a:extLst>
          </p:cNvPr>
          <p:cNvSpPr>
            <a:spLocks noGrp="1"/>
          </p:cNvSpPr>
          <p:nvPr>
            <p:ph type="sldNum" sz="quarter" idx="12"/>
          </p:nvPr>
        </p:nvSpPr>
        <p:spPr/>
        <p:txBody>
          <a:bodyPr/>
          <a:lstStyle/>
          <a:p>
            <a:fld id="{D1B389D8-6223-4B1D-82AB-19C377706A8C}" type="slidenum">
              <a:rPr lang="sv-SE" smtClean="0"/>
              <a:t>29</a:t>
            </a:fld>
            <a:endParaRPr lang="sv-SE"/>
          </a:p>
        </p:txBody>
      </p:sp>
      <p:pic>
        <p:nvPicPr>
          <p:cNvPr id="9" name="Bildobjekt 8">
            <a:extLst>
              <a:ext uri="{FF2B5EF4-FFF2-40B4-BE49-F238E27FC236}">
                <a16:creationId xmlns:a16="http://schemas.microsoft.com/office/drawing/2014/main" id="{2424E47E-0D80-48F1-9CE5-67A45F9F3BDE}"/>
              </a:ext>
            </a:extLst>
          </p:cNvPr>
          <p:cNvPicPr>
            <a:picLocks noChangeAspect="1"/>
          </p:cNvPicPr>
          <p:nvPr/>
        </p:nvPicPr>
        <p:blipFill>
          <a:blip r:embed="rId2"/>
          <a:stretch>
            <a:fillRect/>
          </a:stretch>
        </p:blipFill>
        <p:spPr>
          <a:xfrm>
            <a:off x="666776" y="1980545"/>
            <a:ext cx="2295407" cy="4130544"/>
          </a:xfrm>
          <a:prstGeom prst="rect">
            <a:avLst/>
          </a:prstGeom>
        </p:spPr>
      </p:pic>
      <p:sp>
        <p:nvSpPr>
          <p:cNvPr id="10" name="Pratbubbla: rektangel med rundade hörn 9">
            <a:extLst>
              <a:ext uri="{FF2B5EF4-FFF2-40B4-BE49-F238E27FC236}">
                <a16:creationId xmlns:a16="http://schemas.microsoft.com/office/drawing/2014/main" id="{AC15A83F-4CF2-45F1-8F4F-870DA0767BB8}"/>
              </a:ext>
            </a:extLst>
          </p:cNvPr>
          <p:cNvSpPr/>
          <p:nvPr/>
        </p:nvSpPr>
        <p:spPr>
          <a:xfrm>
            <a:off x="3541179" y="2310238"/>
            <a:ext cx="7848717" cy="1613681"/>
          </a:xfrm>
          <a:prstGeom prst="wedgeRoundRectCallout">
            <a:avLst>
              <a:gd name="adj1" fmla="val -55915"/>
              <a:gd name="adj2" fmla="val 21632"/>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dirty="0">
                <a:solidFill>
                  <a:srgbClr val="000000"/>
                </a:solidFill>
                <a:latin typeface="Segoe UI" panose="020B0502040204020203" pitchFamily="34" charset="0"/>
              </a:rPr>
              <a:t>Jag tycker ju tjänsten fungerar mkt bra, t om för mig som relativ teknikidiot ! Mkt bra m snabb återkoppling fr behandlaren liksom </a:t>
            </a:r>
            <a:r>
              <a:rPr lang="sv-SE" sz="1400" dirty="0" err="1">
                <a:solidFill>
                  <a:srgbClr val="000000"/>
                </a:solidFill>
                <a:latin typeface="Segoe UI" panose="020B0502040204020203" pitchFamily="34" charset="0"/>
              </a:rPr>
              <a:t>pepp</a:t>
            </a:r>
            <a:r>
              <a:rPr lang="sv-SE" sz="1400" dirty="0">
                <a:solidFill>
                  <a:srgbClr val="000000"/>
                </a:solidFill>
                <a:latin typeface="Segoe UI" panose="020B0502040204020203" pitchFamily="34" charset="0"/>
              </a:rPr>
              <a:t> o det hållet motivationen uppe. Själv kunde jag känna visst motstånd t att använda tjänsten , initialt för att det kunde kännas känslomässigt påfrestande m infon o känna igen sig i bra mkt o bli lite ledsen över det </a:t>
            </a:r>
            <a:r>
              <a:rPr lang="sv-SE" sz="1400" dirty="0" err="1">
                <a:solidFill>
                  <a:srgbClr val="000000"/>
                </a:solidFill>
                <a:latin typeface="Segoe UI" panose="020B0502040204020203" pitchFamily="34" charset="0"/>
              </a:rPr>
              <a:t>etc</a:t>
            </a:r>
            <a:endParaRPr lang="sv-SE" sz="1400" dirty="0">
              <a:solidFill>
                <a:srgbClr val="000000"/>
              </a:solidFill>
              <a:latin typeface="Segoe UI" panose="020B0502040204020203" pitchFamily="34" charset="0"/>
            </a:endParaRPr>
          </a:p>
        </p:txBody>
      </p:sp>
      <p:sp>
        <p:nvSpPr>
          <p:cNvPr id="11" name="Platshållare för innehåll 2">
            <a:extLst>
              <a:ext uri="{FF2B5EF4-FFF2-40B4-BE49-F238E27FC236}">
                <a16:creationId xmlns:a16="http://schemas.microsoft.com/office/drawing/2014/main" id="{F084A883-28D5-4790-8822-8A55697C362C}"/>
              </a:ext>
            </a:extLst>
          </p:cNvPr>
          <p:cNvSpPr txBox="1">
            <a:spLocks/>
          </p:cNvSpPr>
          <p:nvPr/>
        </p:nvSpPr>
        <p:spPr>
          <a:xfrm>
            <a:off x="6849582" y="5000672"/>
            <a:ext cx="5105264" cy="928735"/>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sv-SE" dirty="0">
              <a:latin typeface="Calibri" panose="020F0502020204030204" pitchFamily="34" charset="0"/>
              <a:ea typeface="Calibri" panose="020F0502020204030204" pitchFamily="34" charset="0"/>
            </a:endParaRPr>
          </a:p>
          <a:p>
            <a:pPr marL="0" indent="0">
              <a:buFont typeface="Arial" panose="020B0604020202020204" pitchFamily="34" charset="0"/>
              <a:buNone/>
            </a:pPr>
            <a:r>
              <a:rPr lang="sv-SE" sz="1400" i="1" dirty="0">
                <a:latin typeface="Calibri" panose="020F0502020204030204" pitchFamily="34" charset="0"/>
                <a:ea typeface="Calibri" panose="020F0502020204030204" pitchFamily="34" charset="0"/>
              </a:rPr>
              <a:t>Positiva ord har också kommit in, liknande som citatet ovan. Vi har dock valt att enbart ta med de svar som ger konstruktiv kritik för att vi ska kunna utveckla tjänsten tillsammans. </a:t>
            </a:r>
            <a:br>
              <a:rPr lang="en-US" dirty="0">
                <a:latin typeface="Calibri" panose="020F0502020204030204" pitchFamily="34" charset="0"/>
                <a:ea typeface="Calibri" panose="020F0502020204030204" pitchFamily="34" charset="0"/>
                <a:cs typeface="Times New Roman" panose="02020603050405020304" pitchFamily="18" charset="0"/>
              </a:rPr>
            </a:br>
            <a:br>
              <a:rPr lang="en-US" dirty="0">
                <a:latin typeface="Calibri" panose="020F0502020204030204" pitchFamily="34" charset="0"/>
                <a:ea typeface="Calibri" panose="020F0502020204030204" pitchFamily="34" charset="0"/>
                <a:cs typeface="Times New Roman" panose="02020603050405020304" pitchFamily="18" charset="0"/>
              </a:rPr>
            </a:br>
            <a:endParaRPr lang="sv-SE" dirty="0"/>
          </a:p>
        </p:txBody>
      </p:sp>
    </p:spTree>
    <p:extLst>
      <p:ext uri="{BB962C8B-B14F-4D97-AF65-F5344CB8AC3E}">
        <p14:creationId xmlns:p14="http://schemas.microsoft.com/office/powerpoint/2010/main" val="33861546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a:xfrm>
            <a:off x="866274" y="9685"/>
            <a:ext cx="10515600" cy="1149264"/>
          </a:xfrm>
        </p:spPr>
        <p:txBody>
          <a:bodyPr/>
          <a:lstStyle/>
          <a:p>
            <a:r>
              <a:rPr lang="sv-SE">
                <a:ea typeface="+mj-lt"/>
                <a:cs typeface="+mj-lt"/>
              </a:rPr>
              <a:t>Syfte: Koordinera och samla in behov samt kanal för informations- och erfarenhetsutbyte</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922424" y="1276644"/>
            <a:ext cx="10459450" cy="4098851"/>
          </a:xfrm>
        </p:spPr>
        <p:txBody>
          <a:bodyPr vert="horz" lIns="0" tIns="0" rIns="0" bIns="0" rtlCol="0" anchor="t">
            <a:noAutofit/>
          </a:bodyPr>
          <a:lstStyle/>
          <a:p>
            <a:pPr marL="0" indent="0">
              <a:lnSpc>
                <a:spcPct val="100000"/>
              </a:lnSpc>
              <a:spcBef>
                <a:spcPts val="0"/>
              </a:spcBef>
              <a:spcAft>
                <a:spcPts val="1800"/>
              </a:spcAft>
              <a:buNone/>
            </a:pPr>
            <a:r>
              <a:rPr lang="sv-SE" b="1" dirty="0">
                <a:solidFill>
                  <a:schemeClr val="tx1"/>
                </a:solidFill>
                <a:ea typeface="+mn-lt"/>
                <a:cs typeface="+mn-lt"/>
              </a:rPr>
              <a:t>Agenda</a:t>
            </a:r>
            <a:endParaRPr lang="en-US" dirty="0">
              <a:solidFill>
                <a:schemeClr val="tx1"/>
              </a:solidFill>
              <a:ea typeface="+mn-lt"/>
              <a:cs typeface="+mn-lt"/>
            </a:endParaRP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v användarforum</a:t>
            </a:r>
          </a:p>
          <a:p>
            <a:pPr marL="0" indent="0">
              <a:lnSpc>
                <a:spcPct val="100000"/>
              </a:lnSpc>
              <a:spcBef>
                <a:spcPts val="0"/>
              </a:spcBef>
              <a:spcAft>
                <a:spcPts val="1800"/>
              </a:spcAft>
              <a:buNone/>
            </a:pPr>
            <a:endParaRPr lang="sv-SE" dirty="0">
              <a:solidFill>
                <a:schemeClr val="tx1"/>
              </a:solidFill>
              <a:ea typeface="Open Sans"/>
              <a:cs typeface="Open Sans"/>
            </a:endParaRP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3</a:t>
            </a:fld>
            <a:endParaRPr lang="sv-SE"/>
          </a:p>
        </p:txBody>
      </p:sp>
    </p:spTree>
    <p:extLst>
      <p:ext uri="{BB962C8B-B14F-4D97-AF65-F5344CB8AC3E}">
        <p14:creationId xmlns:p14="http://schemas.microsoft.com/office/powerpoint/2010/main" val="3738514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0609DC-73DB-4AAA-AB7F-1868A695E383}"/>
              </a:ext>
            </a:extLst>
          </p:cNvPr>
          <p:cNvSpPr>
            <a:spLocks noGrp="1"/>
          </p:cNvSpPr>
          <p:nvPr>
            <p:ph type="title"/>
          </p:nvPr>
        </p:nvSpPr>
        <p:spPr>
          <a:xfrm>
            <a:off x="874296" y="84221"/>
            <a:ext cx="10072630" cy="1149264"/>
          </a:xfrm>
        </p:spPr>
        <p:txBody>
          <a:bodyPr anchor="b">
            <a:normAutofit/>
          </a:bodyPr>
          <a:lstStyle/>
          <a:p>
            <a:r>
              <a:rPr lang="sv-SE" dirty="0"/>
              <a:t>Personal: Hur ser vår NKI ut? </a:t>
            </a:r>
          </a:p>
        </p:txBody>
      </p:sp>
      <p:pic>
        <p:nvPicPr>
          <p:cNvPr id="8" name="Platshållare för innehåll 7">
            <a:extLst>
              <a:ext uri="{FF2B5EF4-FFF2-40B4-BE49-F238E27FC236}">
                <a16:creationId xmlns:a16="http://schemas.microsoft.com/office/drawing/2014/main" id="{717D4156-B74A-4140-9E9C-2B405124C8E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4009531" y="1777249"/>
            <a:ext cx="3216985" cy="3564527"/>
          </a:xfrm>
          <a:noFill/>
        </p:spPr>
      </p:pic>
      <p:sp>
        <p:nvSpPr>
          <p:cNvPr id="20" name="Footer Placeholder 3">
            <a:extLst>
              <a:ext uri="{FF2B5EF4-FFF2-40B4-BE49-F238E27FC236}">
                <a16:creationId xmlns:a16="http://schemas.microsoft.com/office/drawing/2014/main" id="{222C7352-B0EC-F07C-D7E4-332D9860E8DF}"/>
              </a:ext>
            </a:extLst>
          </p:cNvPr>
          <p:cNvSpPr>
            <a:spLocks noGrp="1"/>
          </p:cNvSpPr>
          <p:nvPr>
            <p:ph type="ftr" sz="quarter" idx="11"/>
          </p:nvPr>
        </p:nvSpPr>
        <p:spPr>
          <a:xfrm>
            <a:off x="711722" y="6311973"/>
            <a:ext cx="4114800" cy="365125"/>
          </a:xfrm>
        </p:spPr>
        <p:txBody>
          <a:bodyPr/>
          <a:lstStyle/>
          <a:p>
            <a:endParaRPr lang="sv-SE"/>
          </a:p>
        </p:txBody>
      </p:sp>
      <p:sp>
        <p:nvSpPr>
          <p:cNvPr id="5" name="Platshållare för bildnummer 4">
            <a:extLst>
              <a:ext uri="{FF2B5EF4-FFF2-40B4-BE49-F238E27FC236}">
                <a16:creationId xmlns:a16="http://schemas.microsoft.com/office/drawing/2014/main" id="{A3279711-542C-40F7-96B9-54F1F6807891}"/>
              </a:ext>
            </a:extLst>
          </p:cNvPr>
          <p:cNvSpPr>
            <a:spLocks noGrp="1"/>
          </p:cNvSpPr>
          <p:nvPr>
            <p:ph type="sldNum" sz="quarter" idx="12"/>
          </p:nvPr>
        </p:nvSpPr>
        <p:spPr>
          <a:xfrm>
            <a:off x="276721" y="6311994"/>
            <a:ext cx="390055" cy="365125"/>
          </a:xfrm>
        </p:spPr>
        <p:txBody>
          <a:bodyPr anchor="ctr">
            <a:normAutofit/>
          </a:bodyPr>
          <a:lstStyle/>
          <a:p>
            <a:pPr>
              <a:spcAft>
                <a:spcPts val="600"/>
              </a:spcAft>
            </a:pPr>
            <a:fld id="{7FF155A8-5C6D-4241-95DF-81E4F2B16EE5}" type="slidenum">
              <a:rPr lang="sv-SE" smtClean="0"/>
              <a:pPr>
                <a:spcAft>
                  <a:spcPts val="600"/>
                </a:spcAft>
              </a:pPr>
              <a:t>30</a:t>
            </a:fld>
            <a:endParaRPr lang="sv-SE"/>
          </a:p>
        </p:txBody>
      </p:sp>
    </p:spTree>
    <p:extLst>
      <p:ext uri="{BB962C8B-B14F-4D97-AF65-F5344CB8AC3E}">
        <p14:creationId xmlns:p14="http://schemas.microsoft.com/office/powerpoint/2010/main" val="457703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D37E0B-0191-4ECF-8194-8CE695BCE1CC}"/>
              </a:ext>
            </a:extLst>
          </p:cNvPr>
          <p:cNvSpPr>
            <a:spLocks noGrp="1"/>
          </p:cNvSpPr>
          <p:nvPr>
            <p:ph type="title"/>
          </p:nvPr>
        </p:nvSpPr>
        <p:spPr/>
        <p:txBody>
          <a:bodyPr/>
          <a:lstStyle/>
          <a:p>
            <a:r>
              <a:rPr lang="sv-SE" dirty="0"/>
              <a:t>Vem har besvarat enkäten?</a:t>
            </a:r>
          </a:p>
        </p:txBody>
      </p:sp>
      <p:sp>
        <p:nvSpPr>
          <p:cNvPr id="4" name="Platshållare för sidfot 3">
            <a:extLst>
              <a:ext uri="{FF2B5EF4-FFF2-40B4-BE49-F238E27FC236}">
                <a16:creationId xmlns:a16="http://schemas.microsoft.com/office/drawing/2014/main" id="{D20F1A7B-3736-4176-918C-2C546B71FB58}"/>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5E7C2C8B-B24C-4397-BD7C-0D852F10F5B2}"/>
              </a:ext>
            </a:extLst>
          </p:cNvPr>
          <p:cNvSpPr>
            <a:spLocks noGrp="1"/>
          </p:cNvSpPr>
          <p:nvPr>
            <p:ph type="sldNum" sz="quarter" idx="12"/>
          </p:nvPr>
        </p:nvSpPr>
        <p:spPr/>
        <p:txBody>
          <a:bodyPr/>
          <a:lstStyle/>
          <a:p>
            <a:fld id="{7FF155A8-5C6D-4241-95DF-81E4F2B16EE5}" type="slidenum">
              <a:rPr lang="sv-SE" smtClean="0"/>
              <a:t>31</a:t>
            </a:fld>
            <a:endParaRPr lang="sv-SE"/>
          </a:p>
        </p:txBody>
      </p:sp>
      <p:graphicFrame>
        <p:nvGraphicFramePr>
          <p:cNvPr id="10" name="Diagram 9">
            <a:extLst>
              <a:ext uri="{FF2B5EF4-FFF2-40B4-BE49-F238E27FC236}">
                <a16:creationId xmlns:a16="http://schemas.microsoft.com/office/drawing/2014/main" id="{2F4896E3-6FB0-4824-B084-85A0035A3211}"/>
              </a:ext>
            </a:extLst>
          </p:cNvPr>
          <p:cNvGraphicFramePr>
            <a:graphicFrameLocks/>
          </p:cNvGraphicFramePr>
          <p:nvPr>
            <p:extLst>
              <p:ext uri="{D42A27DB-BD31-4B8C-83A1-F6EECF244321}">
                <p14:modId xmlns:p14="http://schemas.microsoft.com/office/powerpoint/2010/main" val="1885952888"/>
              </p:ext>
            </p:extLst>
          </p:nvPr>
        </p:nvGraphicFramePr>
        <p:xfrm>
          <a:off x="2769122" y="1233485"/>
          <a:ext cx="5805848" cy="474452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0229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FE063E-F09B-4DC0-BCD6-C2091133BF85}"/>
              </a:ext>
            </a:extLst>
          </p:cNvPr>
          <p:cNvSpPr>
            <a:spLocks noGrp="1"/>
          </p:cNvSpPr>
          <p:nvPr>
            <p:ph type="title"/>
          </p:nvPr>
        </p:nvSpPr>
        <p:spPr/>
        <p:txBody>
          <a:bodyPr/>
          <a:lstStyle/>
          <a:p>
            <a:r>
              <a:rPr lang="sv-SE" dirty="0"/>
              <a:t>Användarvänlighet</a:t>
            </a:r>
          </a:p>
        </p:txBody>
      </p:sp>
      <p:sp>
        <p:nvSpPr>
          <p:cNvPr id="4" name="Platshållare för sidfot 3">
            <a:extLst>
              <a:ext uri="{FF2B5EF4-FFF2-40B4-BE49-F238E27FC236}">
                <a16:creationId xmlns:a16="http://schemas.microsoft.com/office/drawing/2014/main" id="{B1F9E29B-24C4-43FC-B1CB-41B92C9AC3A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0AFC695D-F4A1-40D5-955C-30D41B3B11D3}"/>
              </a:ext>
            </a:extLst>
          </p:cNvPr>
          <p:cNvSpPr>
            <a:spLocks noGrp="1"/>
          </p:cNvSpPr>
          <p:nvPr>
            <p:ph type="sldNum" sz="quarter" idx="12"/>
          </p:nvPr>
        </p:nvSpPr>
        <p:spPr/>
        <p:txBody>
          <a:bodyPr/>
          <a:lstStyle/>
          <a:p>
            <a:fld id="{7FF155A8-5C6D-4241-95DF-81E4F2B16EE5}" type="slidenum">
              <a:rPr lang="sv-SE" smtClean="0"/>
              <a:t>32</a:t>
            </a:fld>
            <a:endParaRPr lang="sv-SE"/>
          </a:p>
        </p:txBody>
      </p:sp>
      <p:sp>
        <p:nvSpPr>
          <p:cNvPr id="12" name="textruta 11">
            <a:extLst>
              <a:ext uri="{FF2B5EF4-FFF2-40B4-BE49-F238E27FC236}">
                <a16:creationId xmlns:a16="http://schemas.microsoft.com/office/drawing/2014/main" id="{CB2729CE-CC20-4581-B657-7912170B5ED6}"/>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graphicFrame>
        <p:nvGraphicFramePr>
          <p:cNvPr id="7" name="Diagram 6">
            <a:extLst>
              <a:ext uri="{FF2B5EF4-FFF2-40B4-BE49-F238E27FC236}">
                <a16:creationId xmlns:a16="http://schemas.microsoft.com/office/drawing/2014/main" id="{0432E567-062E-442C-8499-8BE16876A9C4}"/>
              </a:ext>
            </a:extLst>
          </p:cNvPr>
          <p:cNvGraphicFramePr>
            <a:graphicFrameLocks/>
          </p:cNvGraphicFramePr>
          <p:nvPr/>
        </p:nvGraphicFramePr>
        <p:xfrm>
          <a:off x="1824910" y="1233485"/>
          <a:ext cx="7771683" cy="48734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15492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1F5E0A1-8F2B-4041-BB71-5559197FDFE7}"/>
              </a:ext>
            </a:extLst>
          </p:cNvPr>
          <p:cNvSpPr>
            <a:spLocks noGrp="1"/>
          </p:cNvSpPr>
          <p:nvPr>
            <p:ph type="title"/>
          </p:nvPr>
        </p:nvSpPr>
        <p:spPr/>
        <p:txBody>
          <a:bodyPr/>
          <a:lstStyle/>
          <a:p>
            <a:r>
              <a:rPr lang="sv-SE" dirty="0"/>
              <a:t>Stöd på arbetsplatsen </a:t>
            </a:r>
          </a:p>
        </p:txBody>
      </p:sp>
      <p:sp>
        <p:nvSpPr>
          <p:cNvPr id="4" name="Platshållare för sidfot 3">
            <a:extLst>
              <a:ext uri="{FF2B5EF4-FFF2-40B4-BE49-F238E27FC236}">
                <a16:creationId xmlns:a16="http://schemas.microsoft.com/office/drawing/2014/main" id="{C6374CBB-D79B-4AD8-8B1B-1283DCE6CF3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B3CCC14-47E6-4F66-9E38-11BEB31020F6}"/>
              </a:ext>
            </a:extLst>
          </p:cNvPr>
          <p:cNvSpPr>
            <a:spLocks noGrp="1"/>
          </p:cNvSpPr>
          <p:nvPr>
            <p:ph type="sldNum" sz="quarter" idx="12"/>
          </p:nvPr>
        </p:nvSpPr>
        <p:spPr/>
        <p:txBody>
          <a:bodyPr/>
          <a:lstStyle/>
          <a:p>
            <a:fld id="{7FF155A8-5C6D-4241-95DF-81E4F2B16EE5}" type="slidenum">
              <a:rPr lang="sv-SE" smtClean="0"/>
              <a:t>33</a:t>
            </a:fld>
            <a:endParaRPr lang="sv-SE"/>
          </a:p>
        </p:txBody>
      </p:sp>
      <p:graphicFrame>
        <p:nvGraphicFramePr>
          <p:cNvPr id="9" name="Diagram 8">
            <a:extLst>
              <a:ext uri="{FF2B5EF4-FFF2-40B4-BE49-F238E27FC236}">
                <a16:creationId xmlns:a16="http://schemas.microsoft.com/office/drawing/2014/main" id="{A391B93C-8F3A-460A-AC14-799B60832743}"/>
              </a:ext>
            </a:extLst>
          </p:cNvPr>
          <p:cNvGraphicFramePr>
            <a:graphicFrameLocks/>
          </p:cNvGraphicFramePr>
          <p:nvPr/>
        </p:nvGraphicFramePr>
        <p:xfrm>
          <a:off x="2051245" y="1337456"/>
          <a:ext cx="7396125" cy="4776108"/>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ruta 9">
            <a:extLst>
              <a:ext uri="{FF2B5EF4-FFF2-40B4-BE49-F238E27FC236}">
                <a16:creationId xmlns:a16="http://schemas.microsoft.com/office/drawing/2014/main" id="{941ECFF8-1ECB-47A8-BBAF-EB3D57F800A4}"/>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spTree>
    <p:extLst>
      <p:ext uri="{BB962C8B-B14F-4D97-AF65-F5344CB8AC3E}">
        <p14:creationId xmlns:p14="http://schemas.microsoft.com/office/powerpoint/2010/main" val="1897455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1F5E0A1-8F2B-4041-BB71-5559197FDFE7}"/>
              </a:ext>
            </a:extLst>
          </p:cNvPr>
          <p:cNvSpPr>
            <a:spLocks noGrp="1"/>
          </p:cNvSpPr>
          <p:nvPr>
            <p:ph type="title"/>
          </p:nvPr>
        </p:nvSpPr>
        <p:spPr/>
        <p:txBody>
          <a:bodyPr/>
          <a:lstStyle/>
          <a:p>
            <a:r>
              <a:rPr lang="sv-SE" dirty="0"/>
              <a:t>Relevans</a:t>
            </a:r>
          </a:p>
        </p:txBody>
      </p:sp>
      <p:sp>
        <p:nvSpPr>
          <p:cNvPr id="4" name="Platshållare för sidfot 3">
            <a:extLst>
              <a:ext uri="{FF2B5EF4-FFF2-40B4-BE49-F238E27FC236}">
                <a16:creationId xmlns:a16="http://schemas.microsoft.com/office/drawing/2014/main" id="{C6374CBB-D79B-4AD8-8B1B-1283DCE6CF3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B3CCC14-47E6-4F66-9E38-11BEB31020F6}"/>
              </a:ext>
            </a:extLst>
          </p:cNvPr>
          <p:cNvSpPr>
            <a:spLocks noGrp="1"/>
          </p:cNvSpPr>
          <p:nvPr>
            <p:ph type="sldNum" sz="quarter" idx="12"/>
          </p:nvPr>
        </p:nvSpPr>
        <p:spPr/>
        <p:txBody>
          <a:bodyPr/>
          <a:lstStyle/>
          <a:p>
            <a:fld id="{7FF155A8-5C6D-4241-95DF-81E4F2B16EE5}" type="slidenum">
              <a:rPr lang="sv-SE" smtClean="0"/>
              <a:t>34</a:t>
            </a:fld>
            <a:endParaRPr lang="sv-SE"/>
          </a:p>
        </p:txBody>
      </p:sp>
      <p:sp>
        <p:nvSpPr>
          <p:cNvPr id="10" name="textruta 9">
            <a:extLst>
              <a:ext uri="{FF2B5EF4-FFF2-40B4-BE49-F238E27FC236}">
                <a16:creationId xmlns:a16="http://schemas.microsoft.com/office/drawing/2014/main" id="{941ECFF8-1ECB-47A8-BBAF-EB3D57F800A4}"/>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graphicFrame>
        <p:nvGraphicFramePr>
          <p:cNvPr id="7" name="Diagram 6">
            <a:extLst>
              <a:ext uri="{FF2B5EF4-FFF2-40B4-BE49-F238E27FC236}">
                <a16:creationId xmlns:a16="http://schemas.microsoft.com/office/drawing/2014/main" id="{F06F198C-5BAB-46E1-AE22-260789F25351}"/>
              </a:ext>
            </a:extLst>
          </p:cNvPr>
          <p:cNvGraphicFramePr>
            <a:graphicFrameLocks/>
          </p:cNvGraphicFramePr>
          <p:nvPr/>
        </p:nvGraphicFramePr>
        <p:xfrm>
          <a:off x="1354128" y="1208538"/>
          <a:ext cx="7938627" cy="488156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9660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1F5E0A1-8F2B-4041-BB71-5559197FDFE7}"/>
              </a:ext>
            </a:extLst>
          </p:cNvPr>
          <p:cNvSpPr>
            <a:spLocks noGrp="1"/>
          </p:cNvSpPr>
          <p:nvPr>
            <p:ph type="title"/>
          </p:nvPr>
        </p:nvSpPr>
        <p:spPr/>
        <p:txBody>
          <a:bodyPr/>
          <a:lstStyle/>
          <a:p>
            <a:r>
              <a:rPr lang="sv-SE" dirty="0"/>
              <a:t>Information till invånaren</a:t>
            </a:r>
          </a:p>
        </p:txBody>
      </p:sp>
      <p:sp>
        <p:nvSpPr>
          <p:cNvPr id="4" name="Platshållare för sidfot 3">
            <a:extLst>
              <a:ext uri="{FF2B5EF4-FFF2-40B4-BE49-F238E27FC236}">
                <a16:creationId xmlns:a16="http://schemas.microsoft.com/office/drawing/2014/main" id="{C6374CBB-D79B-4AD8-8B1B-1283DCE6CF3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EB3CCC14-47E6-4F66-9E38-11BEB31020F6}"/>
              </a:ext>
            </a:extLst>
          </p:cNvPr>
          <p:cNvSpPr>
            <a:spLocks noGrp="1"/>
          </p:cNvSpPr>
          <p:nvPr>
            <p:ph type="sldNum" sz="quarter" idx="12"/>
          </p:nvPr>
        </p:nvSpPr>
        <p:spPr/>
        <p:txBody>
          <a:bodyPr/>
          <a:lstStyle/>
          <a:p>
            <a:fld id="{7FF155A8-5C6D-4241-95DF-81E4F2B16EE5}" type="slidenum">
              <a:rPr lang="sv-SE" smtClean="0"/>
              <a:t>35</a:t>
            </a:fld>
            <a:endParaRPr lang="sv-SE"/>
          </a:p>
        </p:txBody>
      </p:sp>
      <p:sp>
        <p:nvSpPr>
          <p:cNvPr id="10" name="textruta 9">
            <a:extLst>
              <a:ext uri="{FF2B5EF4-FFF2-40B4-BE49-F238E27FC236}">
                <a16:creationId xmlns:a16="http://schemas.microsoft.com/office/drawing/2014/main" id="{941ECFF8-1ECB-47A8-BBAF-EB3D57F800A4}"/>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graphicFrame>
        <p:nvGraphicFramePr>
          <p:cNvPr id="8" name="Diagram 7">
            <a:extLst>
              <a:ext uri="{FF2B5EF4-FFF2-40B4-BE49-F238E27FC236}">
                <a16:creationId xmlns:a16="http://schemas.microsoft.com/office/drawing/2014/main" id="{7805F085-1E31-4690-8FF1-E7C706DEAD27}"/>
              </a:ext>
            </a:extLst>
          </p:cNvPr>
          <p:cNvGraphicFramePr>
            <a:graphicFrameLocks/>
          </p:cNvGraphicFramePr>
          <p:nvPr>
            <p:extLst>
              <p:ext uri="{D42A27DB-BD31-4B8C-83A1-F6EECF244321}">
                <p14:modId xmlns:p14="http://schemas.microsoft.com/office/powerpoint/2010/main" val="3970223522"/>
              </p:ext>
            </p:extLst>
          </p:nvPr>
        </p:nvGraphicFramePr>
        <p:xfrm>
          <a:off x="1628273" y="1233485"/>
          <a:ext cx="7838383" cy="48567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94133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FE063E-F09B-4DC0-BCD6-C2091133BF85}"/>
              </a:ext>
            </a:extLst>
          </p:cNvPr>
          <p:cNvSpPr>
            <a:spLocks noGrp="1"/>
          </p:cNvSpPr>
          <p:nvPr>
            <p:ph type="title"/>
          </p:nvPr>
        </p:nvSpPr>
        <p:spPr/>
        <p:txBody>
          <a:bodyPr/>
          <a:lstStyle/>
          <a:p>
            <a:r>
              <a:rPr lang="sv-SE" dirty="0"/>
              <a:t>Det totala NKI-värdet</a:t>
            </a:r>
          </a:p>
        </p:txBody>
      </p:sp>
      <p:sp>
        <p:nvSpPr>
          <p:cNvPr id="4" name="Platshållare för sidfot 3">
            <a:extLst>
              <a:ext uri="{FF2B5EF4-FFF2-40B4-BE49-F238E27FC236}">
                <a16:creationId xmlns:a16="http://schemas.microsoft.com/office/drawing/2014/main" id="{B1F9E29B-24C4-43FC-B1CB-41B92C9AC3A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0AFC695D-F4A1-40D5-955C-30D41B3B11D3}"/>
              </a:ext>
            </a:extLst>
          </p:cNvPr>
          <p:cNvSpPr>
            <a:spLocks noGrp="1"/>
          </p:cNvSpPr>
          <p:nvPr>
            <p:ph type="sldNum" sz="quarter" idx="12"/>
          </p:nvPr>
        </p:nvSpPr>
        <p:spPr/>
        <p:txBody>
          <a:bodyPr/>
          <a:lstStyle/>
          <a:p>
            <a:fld id="{7FF155A8-5C6D-4241-95DF-81E4F2B16EE5}" type="slidenum">
              <a:rPr lang="sv-SE" smtClean="0"/>
              <a:t>36</a:t>
            </a:fld>
            <a:endParaRPr lang="sv-SE"/>
          </a:p>
        </p:txBody>
      </p:sp>
      <p:sp>
        <p:nvSpPr>
          <p:cNvPr id="12" name="textruta 11">
            <a:extLst>
              <a:ext uri="{FF2B5EF4-FFF2-40B4-BE49-F238E27FC236}">
                <a16:creationId xmlns:a16="http://schemas.microsoft.com/office/drawing/2014/main" id="{CB2729CE-CC20-4581-B657-7912170B5ED6}"/>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graphicFrame>
        <p:nvGraphicFramePr>
          <p:cNvPr id="7" name="Diagram 6">
            <a:extLst>
              <a:ext uri="{FF2B5EF4-FFF2-40B4-BE49-F238E27FC236}">
                <a16:creationId xmlns:a16="http://schemas.microsoft.com/office/drawing/2014/main" id="{E58BDF77-860A-4353-8246-81DC55CF7732}"/>
              </a:ext>
            </a:extLst>
          </p:cNvPr>
          <p:cNvGraphicFramePr>
            <a:graphicFrameLocks/>
          </p:cNvGraphicFramePr>
          <p:nvPr>
            <p:extLst>
              <p:ext uri="{D42A27DB-BD31-4B8C-83A1-F6EECF244321}">
                <p14:modId xmlns:p14="http://schemas.microsoft.com/office/powerpoint/2010/main" val="2155357118"/>
              </p:ext>
            </p:extLst>
          </p:nvPr>
        </p:nvGraphicFramePr>
        <p:xfrm>
          <a:off x="1761683" y="1304692"/>
          <a:ext cx="7573275" cy="47472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11029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AFE063E-F09B-4DC0-BCD6-C2091133BF85}"/>
              </a:ext>
            </a:extLst>
          </p:cNvPr>
          <p:cNvSpPr>
            <a:spLocks noGrp="1"/>
          </p:cNvSpPr>
          <p:nvPr>
            <p:ph type="title"/>
          </p:nvPr>
        </p:nvSpPr>
        <p:spPr/>
        <p:txBody>
          <a:bodyPr/>
          <a:lstStyle/>
          <a:p>
            <a:r>
              <a:rPr lang="sv-SE" dirty="0"/>
              <a:t>Det totala NKI-värdet</a:t>
            </a:r>
          </a:p>
        </p:txBody>
      </p:sp>
      <p:sp>
        <p:nvSpPr>
          <p:cNvPr id="4" name="Platshållare för sidfot 3">
            <a:extLst>
              <a:ext uri="{FF2B5EF4-FFF2-40B4-BE49-F238E27FC236}">
                <a16:creationId xmlns:a16="http://schemas.microsoft.com/office/drawing/2014/main" id="{B1F9E29B-24C4-43FC-B1CB-41B92C9AC3A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0AFC695D-F4A1-40D5-955C-30D41B3B11D3}"/>
              </a:ext>
            </a:extLst>
          </p:cNvPr>
          <p:cNvSpPr>
            <a:spLocks noGrp="1"/>
          </p:cNvSpPr>
          <p:nvPr>
            <p:ph type="sldNum" sz="quarter" idx="12"/>
          </p:nvPr>
        </p:nvSpPr>
        <p:spPr/>
        <p:txBody>
          <a:bodyPr/>
          <a:lstStyle/>
          <a:p>
            <a:fld id="{7FF155A8-5C6D-4241-95DF-81E4F2B16EE5}" type="slidenum">
              <a:rPr lang="sv-SE" smtClean="0"/>
              <a:t>37</a:t>
            </a:fld>
            <a:endParaRPr lang="sv-SE"/>
          </a:p>
        </p:txBody>
      </p:sp>
      <p:sp>
        <p:nvSpPr>
          <p:cNvPr id="12" name="textruta 11">
            <a:extLst>
              <a:ext uri="{FF2B5EF4-FFF2-40B4-BE49-F238E27FC236}">
                <a16:creationId xmlns:a16="http://schemas.microsoft.com/office/drawing/2014/main" id="{CB2729CE-CC20-4581-B657-7912170B5ED6}"/>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graphicFrame>
        <p:nvGraphicFramePr>
          <p:cNvPr id="7" name="Diagram 6">
            <a:extLst>
              <a:ext uri="{FF2B5EF4-FFF2-40B4-BE49-F238E27FC236}">
                <a16:creationId xmlns:a16="http://schemas.microsoft.com/office/drawing/2014/main" id="{7E646D23-2CAF-42CA-8175-2597F70BE0B7}"/>
              </a:ext>
            </a:extLst>
          </p:cNvPr>
          <p:cNvGraphicFramePr>
            <a:graphicFrameLocks/>
          </p:cNvGraphicFramePr>
          <p:nvPr/>
        </p:nvGraphicFramePr>
        <p:xfrm>
          <a:off x="1861124" y="1233485"/>
          <a:ext cx="7954742" cy="4874015"/>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Rak koppling 7">
            <a:extLst>
              <a:ext uri="{FF2B5EF4-FFF2-40B4-BE49-F238E27FC236}">
                <a16:creationId xmlns:a16="http://schemas.microsoft.com/office/drawing/2014/main" id="{887DEFA2-7F2E-4B11-ABDE-5740E28A7F71}"/>
              </a:ext>
            </a:extLst>
          </p:cNvPr>
          <p:cNvCxnSpPr/>
          <p:nvPr/>
        </p:nvCxnSpPr>
        <p:spPr>
          <a:xfrm>
            <a:off x="2042299" y="2938239"/>
            <a:ext cx="7848600"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9" name="Rak koppling 8">
            <a:extLst>
              <a:ext uri="{FF2B5EF4-FFF2-40B4-BE49-F238E27FC236}">
                <a16:creationId xmlns:a16="http://schemas.microsoft.com/office/drawing/2014/main" id="{25046D64-6582-40AE-AF39-60D064EF90E5}"/>
              </a:ext>
            </a:extLst>
          </p:cNvPr>
          <p:cNvCxnSpPr/>
          <p:nvPr/>
        </p:nvCxnSpPr>
        <p:spPr>
          <a:xfrm>
            <a:off x="2042299" y="2250176"/>
            <a:ext cx="7848600" cy="0"/>
          </a:xfrm>
          <a:prstGeom prst="line">
            <a:avLst/>
          </a:prstGeom>
          <a:ln w="12700">
            <a:prstDash val="dash"/>
          </a:ln>
        </p:spPr>
        <p:style>
          <a:lnRef idx="1">
            <a:schemeClr val="accent1"/>
          </a:lnRef>
          <a:fillRef idx="0">
            <a:schemeClr val="accent1"/>
          </a:fillRef>
          <a:effectRef idx="0">
            <a:schemeClr val="accent1"/>
          </a:effectRef>
          <a:fontRef idx="minor">
            <a:schemeClr val="tx1"/>
          </a:fontRef>
        </p:style>
      </p:cxnSp>
      <p:sp>
        <p:nvSpPr>
          <p:cNvPr id="10" name="textruta 9">
            <a:extLst>
              <a:ext uri="{FF2B5EF4-FFF2-40B4-BE49-F238E27FC236}">
                <a16:creationId xmlns:a16="http://schemas.microsoft.com/office/drawing/2014/main" id="{2B08F63F-6FBD-4266-AE00-66B8EBEC1D3C}"/>
              </a:ext>
            </a:extLst>
          </p:cNvPr>
          <p:cNvSpPr txBox="1"/>
          <p:nvPr/>
        </p:nvSpPr>
        <p:spPr>
          <a:xfrm>
            <a:off x="1069825" y="3913756"/>
            <a:ext cx="595771" cy="609595"/>
          </a:xfrm>
          <a:prstGeom prst="rect">
            <a:avLst/>
          </a:prstGeom>
          <a:noFill/>
        </p:spPr>
        <p:txBody>
          <a:bodyPr wrap="square" lIns="0" tIns="0" rIns="0" bIns="0" rtlCol="0">
            <a:noAutofit/>
          </a:bodyPr>
          <a:lstStyle/>
          <a:p>
            <a:pPr algn="ctr"/>
            <a:r>
              <a:rPr lang="sv-SE" sz="1400" dirty="0"/>
              <a:t>Ej nöjd kund</a:t>
            </a:r>
          </a:p>
        </p:txBody>
      </p:sp>
      <p:sp>
        <p:nvSpPr>
          <p:cNvPr id="11" name="textruta 10">
            <a:extLst>
              <a:ext uri="{FF2B5EF4-FFF2-40B4-BE49-F238E27FC236}">
                <a16:creationId xmlns:a16="http://schemas.microsoft.com/office/drawing/2014/main" id="{9CB55ACC-D1CA-4700-ABE8-46A9EAA026A5}"/>
              </a:ext>
            </a:extLst>
          </p:cNvPr>
          <p:cNvSpPr txBox="1"/>
          <p:nvPr/>
        </p:nvSpPr>
        <p:spPr>
          <a:xfrm>
            <a:off x="1069825" y="2412512"/>
            <a:ext cx="595771" cy="609595"/>
          </a:xfrm>
          <a:prstGeom prst="rect">
            <a:avLst/>
          </a:prstGeom>
          <a:noFill/>
        </p:spPr>
        <p:txBody>
          <a:bodyPr wrap="square" lIns="0" tIns="0" rIns="0" bIns="0" rtlCol="0">
            <a:noAutofit/>
          </a:bodyPr>
          <a:lstStyle/>
          <a:p>
            <a:pPr algn="ctr"/>
            <a:r>
              <a:rPr lang="sv-SE" sz="1400" dirty="0"/>
              <a:t>Nöjd kund</a:t>
            </a:r>
          </a:p>
        </p:txBody>
      </p:sp>
      <p:sp>
        <p:nvSpPr>
          <p:cNvPr id="14" name="textruta 13">
            <a:extLst>
              <a:ext uri="{FF2B5EF4-FFF2-40B4-BE49-F238E27FC236}">
                <a16:creationId xmlns:a16="http://schemas.microsoft.com/office/drawing/2014/main" id="{73943347-E9A0-47BB-96EE-C4F2DD285AF6}"/>
              </a:ext>
            </a:extLst>
          </p:cNvPr>
          <p:cNvSpPr txBox="1"/>
          <p:nvPr/>
        </p:nvSpPr>
        <p:spPr>
          <a:xfrm>
            <a:off x="1069824" y="1437033"/>
            <a:ext cx="595771" cy="609595"/>
          </a:xfrm>
          <a:prstGeom prst="rect">
            <a:avLst/>
          </a:prstGeom>
          <a:noFill/>
        </p:spPr>
        <p:txBody>
          <a:bodyPr wrap="square" lIns="0" tIns="0" rIns="0" bIns="0" rtlCol="0">
            <a:noAutofit/>
          </a:bodyPr>
          <a:lstStyle/>
          <a:p>
            <a:pPr algn="ctr"/>
            <a:r>
              <a:rPr lang="sv-SE" sz="1400" dirty="0"/>
              <a:t>Mycket nöjd kund</a:t>
            </a:r>
          </a:p>
        </p:txBody>
      </p:sp>
    </p:spTree>
    <p:extLst>
      <p:ext uri="{BB962C8B-B14F-4D97-AF65-F5344CB8AC3E}">
        <p14:creationId xmlns:p14="http://schemas.microsoft.com/office/powerpoint/2010/main" val="9928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0609DC-73DB-4AAA-AB7F-1868A695E383}"/>
              </a:ext>
            </a:extLst>
          </p:cNvPr>
          <p:cNvSpPr>
            <a:spLocks noGrp="1"/>
          </p:cNvSpPr>
          <p:nvPr>
            <p:ph type="title"/>
          </p:nvPr>
        </p:nvSpPr>
        <p:spPr>
          <a:xfrm>
            <a:off x="874296" y="84221"/>
            <a:ext cx="10072630" cy="1149264"/>
          </a:xfrm>
        </p:spPr>
        <p:txBody>
          <a:bodyPr anchor="b">
            <a:normAutofit/>
          </a:bodyPr>
          <a:lstStyle/>
          <a:p>
            <a:r>
              <a:rPr lang="sv-SE" dirty="0"/>
              <a:t>Personal: Fritextsvar</a:t>
            </a:r>
          </a:p>
        </p:txBody>
      </p:sp>
      <p:pic>
        <p:nvPicPr>
          <p:cNvPr id="8" name="Platshållare för innehåll 7">
            <a:extLst>
              <a:ext uri="{FF2B5EF4-FFF2-40B4-BE49-F238E27FC236}">
                <a16:creationId xmlns:a16="http://schemas.microsoft.com/office/drawing/2014/main" id="{717D4156-B74A-4140-9E9C-2B405124C8E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4009532" y="1519306"/>
            <a:ext cx="3061226" cy="3391941"/>
          </a:xfrm>
          <a:noFill/>
        </p:spPr>
      </p:pic>
      <p:sp>
        <p:nvSpPr>
          <p:cNvPr id="20" name="Footer Placeholder 3">
            <a:extLst>
              <a:ext uri="{FF2B5EF4-FFF2-40B4-BE49-F238E27FC236}">
                <a16:creationId xmlns:a16="http://schemas.microsoft.com/office/drawing/2014/main" id="{222C7352-B0EC-F07C-D7E4-332D9860E8DF}"/>
              </a:ext>
            </a:extLst>
          </p:cNvPr>
          <p:cNvSpPr>
            <a:spLocks noGrp="1"/>
          </p:cNvSpPr>
          <p:nvPr>
            <p:ph type="ftr" sz="quarter" idx="11"/>
          </p:nvPr>
        </p:nvSpPr>
        <p:spPr>
          <a:xfrm>
            <a:off x="711722" y="6311973"/>
            <a:ext cx="4114800" cy="365125"/>
          </a:xfrm>
        </p:spPr>
        <p:txBody>
          <a:bodyPr/>
          <a:lstStyle/>
          <a:p>
            <a:endParaRPr lang="sv-SE"/>
          </a:p>
        </p:txBody>
      </p:sp>
      <p:sp>
        <p:nvSpPr>
          <p:cNvPr id="5" name="Platshållare för bildnummer 4">
            <a:extLst>
              <a:ext uri="{FF2B5EF4-FFF2-40B4-BE49-F238E27FC236}">
                <a16:creationId xmlns:a16="http://schemas.microsoft.com/office/drawing/2014/main" id="{A3279711-542C-40F7-96B9-54F1F6807891}"/>
              </a:ext>
            </a:extLst>
          </p:cNvPr>
          <p:cNvSpPr>
            <a:spLocks noGrp="1"/>
          </p:cNvSpPr>
          <p:nvPr>
            <p:ph type="sldNum" sz="quarter" idx="12"/>
          </p:nvPr>
        </p:nvSpPr>
        <p:spPr>
          <a:xfrm>
            <a:off x="276721" y="6311994"/>
            <a:ext cx="390055" cy="365125"/>
          </a:xfrm>
        </p:spPr>
        <p:txBody>
          <a:bodyPr anchor="ctr">
            <a:normAutofit/>
          </a:bodyPr>
          <a:lstStyle/>
          <a:p>
            <a:pPr>
              <a:spcAft>
                <a:spcPts val="600"/>
              </a:spcAft>
            </a:pPr>
            <a:fld id="{7FF155A8-5C6D-4241-95DF-81E4F2B16EE5}" type="slidenum">
              <a:rPr lang="sv-SE" smtClean="0"/>
              <a:pPr>
                <a:spcAft>
                  <a:spcPts val="600"/>
                </a:spcAft>
              </a:pPr>
              <a:t>38</a:t>
            </a:fld>
            <a:endParaRPr lang="sv-SE"/>
          </a:p>
        </p:txBody>
      </p:sp>
      <p:sp>
        <p:nvSpPr>
          <p:cNvPr id="6" name="Platshållare för innehåll 2">
            <a:extLst>
              <a:ext uri="{FF2B5EF4-FFF2-40B4-BE49-F238E27FC236}">
                <a16:creationId xmlns:a16="http://schemas.microsoft.com/office/drawing/2014/main" id="{C8AACFA3-9064-4721-8972-38C3FB9E2529}"/>
              </a:ext>
            </a:extLst>
          </p:cNvPr>
          <p:cNvSpPr txBox="1">
            <a:spLocks/>
          </p:cNvSpPr>
          <p:nvPr/>
        </p:nvSpPr>
        <p:spPr>
          <a:xfrm>
            <a:off x="993857" y="5197068"/>
            <a:ext cx="10204285" cy="615361"/>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v-SE" sz="2000" dirty="0"/>
              <a:t>Har du några förslag på hur vi kan förbättra stöd och behandlings-tjänsterna?</a:t>
            </a:r>
          </a:p>
        </p:txBody>
      </p:sp>
    </p:spTree>
    <p:extLst>
      <p:ext uri="{BB962C8B-B14F-4D97-AF65-F5344CB8AC3E}">
        <p14:creationId xmlns:p14="http://schemas.microsoft.com/office/powerpoint/2010/main" val="363998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6C6F002-6A71-40D7-87C2-3B41B8F04C6D}"/>
              </a:ext>
            </a:extLst>
          </p:cNvPr>
          <p:cNvSpPr>
            <a:spLocks noGrp="1"/>
          </p:cNvSpPr>
          <p:nvPr>
            <p:ph type="title"/>
          </p:nvPr>
        </p:nvSpPr>
        <p:spPr>
          <a:xfrm>
            <a:off x="812132" y="405669"/>
            <a:ext cx="10567736" cy="1149264"/>
          </a:xfrm>
        </p:spPr>
        <p:txBody>
          <a:bodyPr/>
          <a:lstStyle/>
          <a:p>
            <a:r>
              <a:rPr lang="sv-SE" dirty="0"/>
              <a:t>Vad tar den nationella förvaltningen med sig av svaren?</a:t>
            </a:r>
            <a:br>
              <a:rPr lang="sv-SE" dirty="0"/>
            </a:br>
            <a:br>
              <a:rPr lang="sv-SE" dirty="0"/>
            </a:br>
            <a:endParaRPr lang="sv-SE" dirty="0"/>
          </a:p>
        </p:txBody>
      </p:sp>
      <p:sp>
        <p:nvSpPr>
          <p:cNvPr id="3" name="Platshållare för innehåll 2">
            <a:extLst>
              <a:ext uri="{FF2B5EF4-FFF2-40B4-BE49-F238E27FC236}">
                <a16:creationId xmlns:a16="http://schemas.microsoft.com/office/drawing/2014/main" id="{3D3F8FDD-22A7-465B-BABC-5ABFD28DC497}"/>
              </a:ext>
            </a:extLst>
          </p:cNvPr>
          <p:cNvSpPr>
            <a:spLocks noGrp="1"/>
          </p:cNvSpPr>
          <p:nvPr>
            <p:ph idx="1"/>
          </p:nvPr>
        </p:nvSpPr>
        <p:spPr>
          <a:xfrm>
            <a:off x="922424" y="1764711"/>
            <a:ext cx="5919810" cy="3564527"/>
          </a:xfrm>
        </p:spPr>
        <p:txBody>
          <a:bodyPr/>
          <a:lstStyle/>
          <a:p>
            <a:r>
              <a:rPr lang="sv-SE" dirty="0"/>
              <a:t>Gränssnitt</a:t>
            </a:r>
          </a:p>
          <a:p>
            <a:r>
              <a:rPr lang="sv-SE" dirty="0"/>
              <a:t>Journalintegration</a:t>
            </a:r>
          </a:p>
          <a:p>
            <a:r>
              <a:rPr lang="sv-SE" dirty="0"/>
              <a:t>Inloggning för personal</a:t>
            </a:r>
          </a:p>
          <a:p>
            <a:r>
              <a:rPr lang="sv-SE" dirty="0"/>
              <a:t>Meddelande</a:t>
            </a:r>
          </a:p>
          <a:p>
            <a:r>
              <a:rPr lang="sv-SE" dirty="0"/>
              <a:t>Övrigt </a:t>
            </a:r>
          </a:p>
        </p:txBody>
      </p:sp>
      <p:sp>
        <p:nvSpPr>
          <p:cNvPr id="4" name="Platshållare för sidfot 3">
            <a:extLst>
              <a:ext uri="{FF2B5EF4-FFF2-40B4-BE49-F238E27FC236}">
                <a16:creationId xmlns:a16="http://schemas.microsoft.com/office/drawing/2014/main" id="{47E1F7E6-E024-4866-92FB-24F27CF13BD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16F93BC0-5CDE-4A6B-8DD1-E657BD50B88A}"/>
              </a:ext>
            </a:extLst>
          </p:cNvPr>
          <p:cNvSpPr>
            <a:spLocks noGrp="1"/>
          </p:cNvSpPr>
          <p:nvPr>
            <p:ph type="sldNum" sz="quarter" idx="12"/>
          </p:nvPr>
        </p:nvSpPr>
        <p:spPr/>
        <p:txBody>
          <a:bodyPr/>
          <a:lstStyle/>
          <a:p>
            <a:fld id="{7FF155A8-5C6D-4241-95DF-81E4F2B16EE5}" type="slidenum">
              <a:rPr lang="sv-SE" smtClean="0"/>
              <a:t>39</a:t>
            </a:fld>
            <a:endParaRPr lang="sv-SE"/>
          </a:p>
        </p:txBody>
      </p:sp>
      <p:pic>
        <p:nvPicPr>
          <p:cNvPr id="7" name="Platshållare för innehåll 13">
            <a:extLst>
              <a:ext uri="{FF2B5EF4-FFF2-40B4-BE49-F238E27FC236}">
                <a16:creationId xmlns:a16="http://schemas.microsoft.com/office/drawing/2014/main" id="{850E5139-2761-4A80-9D98-6A4DC2A0CA18}"/>
              </a:ext>
            </a:extLst>
          </p:cNvPr>
          <p:cNvPicPr>
            <a:picLocks noChangeAspect="1"/>
          </p:cNvPicPr>
          <p:nvPr/>
        </p:nvPicPr>
        <p:blipFill rotWithShape="1">
          <a:blip r:embed="rId2">
            <a:extLst>
              <a:ext uri="{28A0092B-C50C-407E-A947-70E740481C1C}">
                <a14:useLocalDpi xmlns:a14="http://schemas.microsoft.com/office/drawing/2010/main" val="0"/>
              </a:ext>
            </a:extLst>
          </a:blip>
          <a:stretch/>
        </p:blipFill>
        <p:spPr>
          <a:xfrm>
            <a:off x="6842234" y="1554933"/>
            <a:ext cx="4314097" cy="3160076"/>
          </a:xfrm>
          <a:prstGeom prst="roundRect">
            <a:avLst>
              <a:gd name="adj" fmla="val 1369"/>
            </a:avLst>
          </a:prstGeom>
          <a:noFill/>
        </p:spPr>
      </p:pic>
    </p:spTree>
    <p:extLst>
      <p:ext uri="{BB962C8B-B14F-4D97-AF65-F5344CB8AC3E}">
        <p14:creationId xmlns:p14="http://schemas.microsoft.com/office/powerpoint/2010/main" val="280917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v användarforum</a:t>
            </a:r>
          </a:p>
          <a:p>
            <a:pPr marL="0" indent="0">
              <a:lnSpc>
                <a:spcPct val="100000"/>
              </a:lnSpc>
              <a:spcBef>
                <a:spcPts val="0"/>
              </a:spcBef>
              <a:spcAft>
                <a:spcPts val="1800"/>
              </a:spcAft>
              <a:buNone/>
            </a:pPr>
            <a:r>
              <a:rPr lang="sv-SE" dirty="0">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4</a:t>
            </a:fld>
            <a:endParaRPr lang="sv-SE"/>
          </a:p>
        </p:txBody>
      </p:sp>
    </p:spTree>
    <p:extLst>
      <p:ext uri="{BB962C8B-B14F-4D97-AF65-F5344CB8AC3E}">
        <p14:creationId xmlns:p14="http://schemas.microsoft.com/office/powerpoint/2010/main" val="4158201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59DD718-326D-43F4-B6C2-F15B5FBA4D30}"/>
              </a:ext>
            </a:extLst>
          </p:cNvPr>
          <p:cNvSpPr>
            <a:spLocks noGrp="1"/>
          </p:cNvSpPr>
          <p:nvPr>
            <p:ph type="title"/>
          </p:nvPr>
        </p:nvSpPr>
        <p:spPr/>
        <p:txBody>
          <a:bodyPr/>
          <a:lstStyle/>
          <a:p>
            <a:r>
              <a:rPr lang="sv-SE" dirty="0"/>
              <a:t>Gränssnitt </a:t>
            </a:r>
          </a:p>
        </p:txBody>
      </p:sp>
      <p:sp>
        <p:nvSpPr>
          <p:cNvPr id="3" name="Platshållare för innehåll 2">
            <a:extLst>
              <a:ext uri="{FF2B5EF4-FFF2-40B4-BE49-F238E27FC236}">
                <a16:creationId xmlns:a16="http://schemas.microsoft.com/office/drawing/2014/main" id="{3D9B4CF2-4D2A-4840-91B5-2080E8705E77}"/>
              </a:ext>
            </a:extLst>
          </p:cNvPr>
          <p:cNvSpPr>
            <a:spLocks noGrp="1"/>
          </p:cNvSpPr>
          <p:nvPr>
            <p:ph idx="1"/>
          </p:nvPr>
        </p:nvSpPr>
        <p:spPr/>
        <p:txBody>
          <a:bodyPr/>
          <a:lstStyle/>
          <a:p>
            <a:r>
              <a:rPr lang="sv-SE" dirty="0"/>
              <a:t>Många klick, svårnavigerat. </a:t>
            </a:r>
          </a:p>
          <a:p>
            <a:r>
              <a:rPr lang="sv-SE" dirty="0"/>
              <a:t>Mycket scrollande. </a:t>
            </a:r>
          </a:p>
          <a:p>
            <a:r>
              <a:rPr lang="sv-SE" dirty="0"/>
              <a:t>Dålig översikt. </a:t>
            </a:r>
          </a:p>
          <a:p>
            <a:r>
              <a:rPr lang="sv-SE" dirty="0"/>
              <a:t>Tråkiga färger.</a:t>
            </a:r>
          </a:p>
          <a:p>
            <a:r>
              <a:rPr lang="sv-SE" dirty="0"/>
              <a:t>Lättare kunna se vilka invånare som är klara med sina moduler. </a:t>
            </a:r>
          </a:p>
          <a:p>
            <a:r>
              <a:rPr lang="sv-SE" dirty="0"/>
              <a:t>Lättare kunna hoppa mellan formulär (inte behöva gå tillbaka till hanteravyn). </a:t>
            </a:r>
          </a:p>
          <a:p>
            <a:endParaRPr lang="sv-SE" dirty="0"/>
          </a:p>
        </p:txBody>
      </p:sp>
      <p:sp>
        <p:nvSpPr>
          <p:cNvPr id="4" name="Platshållare för sidfot 3">
            <a:extLst>
              <a:ext uri="{FF2B5EF4-FFF2-40B4-BE49-F238E27FC236}">
                <a16:creationId xmlns:a16="http://schemas.microsoft.com/office/drawing/2014/main" id="{D8A93574-4D44-490C-8DB1-331C1269D25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5D6DD11C-7DB9-47D3-9A65-4598F3455A7C}"/>
              </a:ext>
            </a:extLst>
          </p:cNvPr>
          <p:cNvSpPr>
            <a:spLocks noGrp="1"/>
          </p:cNvSpPr>
          <p:nvPr>
            <p:ph type="sldNum" sz="quarter" idx="12"/>
          </p:nvPr>
        </p:nvSpPr>
        <p:spPr/>
        <p:txBody>
          <a:bodyPr/>
          <a:lstStyle/>
          <a:p>
            <a:fld id="{7FF155A8-5C6D-4241-95DF-81E4F2B16EE5}" type="slidenum">
              <a:rPr lang="sv-SE" smtClean="0"/>
              <a:t>40</a:t>
            </a:fld>
            <a:endParaRPr lang="sv-SE"/>
          </a:p>
        </p:txBody>
      </p:sp>
      <p:pic>
        <p:nvPicPr>
          <p:cNvPr id="8" name="Platshållare för bild 7">
            <a:extLst>
              <a:ext uri="{FF2B5EF4-FFF2-40B4-BE49-F238E27FC236}">
                <a16:creationId xmlns:a16="http://schemas.microsoft.com/office/drawing/2014/main" id="{A5A1D62D-3F23-4A0A-8970-BDA29ECAB71E}"/>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072" r="13072"/>
          <a:stretch>
            <a:fillRect/>
          </a:stretch>
        </p:blipFill>
        <p:spPr>
          <a:xfrm>
            <a:off x="7454989" y="1420073"/>
            <a:ext cx="4110037" cy="3709988"/>
          </a:xfrm>
        </p:spPr>
      </p:pic>
    </p:spTree>
    <p:extLst>
      <p:ext uri="{BB962C8B-B14F-4D97-AF65-F5344CB8AC3E}">
        <p14:creationId xmlns:p14="http://schemas.microsoft.com/office/powerpoint/2010/main" val="194455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9A6D436-6975-4579-90AD-DD00CEBE0550}"/>
              </a:ext>
            </a:extLst>
          </p:cNvPr>
          <p:cNvSpPr>
            <a:spLocks noGrp="1"/>
          </p:cNvSpPr>
          <p:nvPr>
            <p:ph type="title"/>
          </p:nvPr>
        </p:nvSpPr>
        <p:spPr/>
        <p:txBody>
          <a:bodyPr/>
          <a:lstStyle/>
          <a:p>
            <a:r>
              <a:rPr lang="sv-SE" dirty="0"/>
              <a:t>Journalintegration</a:t>
            </a:r>
          </a:p>
        </p:txBody>
      </p:sp>
      <p:sp>
        <p:nvSpPr>
          <p:cNvPr id="3" name="Platshållare för innehåll 2">
            <a:extLst>
              <a:ext uri="{FF2B5EF4-FFF2-40B4-BE49-F238E27FC236}">
                <a16:creationId xmlns:a16="http://schemas.microsoft.com/office/drawing/2014/main" id="{A5C41479-C20C-4B98-998F-28130157B2D9}"/>
              </a:ext>
            </a:extLst>
          </p:cNvPr>
          <p:cNvSpPr>
            <a:spLocks noGrp="1"/>
          </p:cNvSpPr>
          <p:nvPr>
            <p:ph idx="1"/>
          </p:nvPr>
        </p:nvSpPr>
        <p:spPr>
          <a:xfrm>
            <a:off x="874296" y="2747446"/>
            <a:ext cx="5919810" cy="3564527"/>
          </a:xfrm>
        </p:spPr>
        <p:txBody>
          <a:bodyPr/>
          <a:lstStyle/>
          <a:p>
            <a:r>
              <a:rPr lang="sv-SE" dirty="0"/>
              <a:t>Vill att Stöd och behandling ska synka med journalsystemet. Personal vill inte dubbelarbeta. </a:t>
            </a:r>
          </a:p>
        </p:txBody>
      </p:sp>
      <p:sp>
        <p:nvSpPr>
          <p:cNvPr id="4" name="Platshållare för sidfot 3">
            <a:extLst>
              <a:ext uri="{FF2B5EF4-FFF2-40B4-BE49-F238E27FC236}">
                <a16:creationId xmlns:a16="http://schemas.microsoft.com/office/drawing/2014/main" id="{D36866AA-FA66-4584-8BE9-7E20C18F398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29D7BCC-EC40-4DD6-BFEC-999A1D7B8114}"/>
              </a:ext>
            </a:extLst>
          </p:cNvPr>
          <p:cNvSpPr>
            <a:spLocks noGrp="1"/>
          </p:cNvSpPr>
          <p:nvPr>
            <p:ph type="sldNum" sz="quarter" idx="12"/>
          </p:nvPr>
        </p:nvSpPr>
        <p:spPr/>
        <p:txBody>
          <a:bodyPr/>
          <a:lstStyle/>
          <a:p>
            <a:fld id="{7FF155A8-5C6D-4241-95DF-81E4F2B16EE5}" type="slidenum">
              <a:rPr lang="sv-SE" smtClean="0"/>
              <a:t>41</a:t>
            </a:fld>
            <a:endParaRPr lang="sv-SE"/>
          </a:p>
        </p:txBody>
      </p:sp>
      <p:pic>
        <p:nvPicPr>
          <p:cNvPr id="8" name="Platshållare för bild 7">
            <a:extLst>
              <a:ext uri="{FF2B5EF4-FFF2-40B4-BE49-F238E27FC236}">
                <a16:creationId xmlns:a16="http://schemas.microsoft.com/office/drawing/2014/main" id="{408BBC7A-FB5F-41D3-8F25-3AE1274B1025}"/>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7082" r="17082"/>
          <a:stretch>
            <a:fillRect/>
          </a:stretch>
        </p:blipFill>
        <p:spPr/>
      </p:pic>
    </p:spTree>
    <p:extLst>
      <p:ext uri="{BB962C8B-B14F-4D97-AF65-F5344CB8AC3E}">
        <p14:creationId xmlns:p14="http://schemas.microsoft.com/office/powerpoint/2010/main" val="1060880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6D292DE-6D04-45F9-A17A-BA77ACDEAAD1}"/>
              </a:ext>
            </a:extLst>
          </p:cNvPr>
          <p:cNvSpPr>
            <a:spLocks noGrp="1"/>
          </p:cNvSpPr>
          <p:nvPr>
            <p:ph type="title"/>
          </p:nvPr>
        </p:nvSpPr>
        <p:spPr/>
        <p:txBody>
          <a:bodyPr/>
          <a:lstStyle/>
          <a:p>
            <a:r>
              <a:rPr lang="sv-SE" dirty="0"/>
              <a:t>Inloggning för personal </a:t>
            </a:r>
          </a:p>
        </p:txBody>
      </p:sp>
      <p:sp>
        <p:nvSpPr>
          <p:cNvPr id="3" name="Platshållare för innehåll 2">
            <a:extLst>
              <a:ext uri="{FF2B5EF4-FFF2-40B4-BE49-F238E27FC236}">
                <a16:creationId xmlns:a16="http://schemas.microsoft.com/office/drawing/2014/main" id="{4BBB98F1-6E9B-415C-921C-4210E643CF31}"/>
              </a:ext>
            </a:extLst>
          </p:cNvPr>
          <p:cNvSpPr>
            <a:spLocks noGrp="1"/>
          </p:cNvSpPr>
          <p:nvPr>
            <p:ph idx="1"/>
          </p:nvPr>
        </p:nvSpPr>
        <p:spPr/>
        <p:txBody>
          <a:bodyPr/>
          <a:lstStyle/>
          <a:p>
            <a:r>
              <a:rPr lang="sv-SE" dirty="0"/>
              <a:t>Vill ha enklare inloggning. </a:t>
            </a:r>
          </a:p>
          <a:p>
            <a:r>
              <a:rPr lang="sv-SE" dirty="0"/>
              <a:t>Rubriken Förvaltning på Inera.se är otydlig.</a:t>
            </a:r>
          </a:p>
          <a:p>
            <a:endParaRPr lang="sv-SE" dirty="0"/>
          </a:p>
        </p:txBody>
      </p:sp>
      <p:sp>
        <p:nvSpPr>
          <p:cNvPr id="4" name="Platshållare för sidfot 3">
            <a:extLst>
              <a:ext uri="{FF2B5EF4-FFF2-40B4-BE49-F238E27FC236}">
                <a16:creationId xmlns:a16="http://schemas.microsoft.com/office/drawing/2014/main" id="{2701EEB3-33E3-4E9F-B601-2731D3C859CC}"/>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B772139D-5EE7-451B-B6E7-AB2CFAA9480D}"/>
              </a:ext>
            </a:extLst>
          </p:cNvPr>
          <p:cNvSpPr>
            <a:spLocks noGrp="1"/>
          </p:cNvSpPr>
          <p:nvPr>
            <p:ph type="sldNum" sz="quarter" idx="12"/>
          </p:nvPr>
        </p:nvSpPr>
        <p:spPr/>
        <p:txBody>
          <a:bodyPr/>
          <a:lstStyle/>
          <a:p>
            <a:fld id="{7FF155A8-5C6D-4241-95DF-81E4F2B16EE5}" type="slidenum">
              <a:rPr lang="sv-SE" smtClean="0"/>
              <a:t>42</a:t>
            </a:fld>
            <a:endParaRPr lang="sv-SE"/>
          </a:p>
        </p:txBody>
      </p:sp>
      <p:pic>
        <p:nvPicPr>
          <p:cNvPr id="8" name="Platshållare för bild 7" descr="En bild som visar text, person&#10;&#10;Automatiskt genererad beskrivning">
            <a:extLst>
              <a:ext uri="{FF2B5EF4-FFF2-40B4-BE49-F238E27FC236}">
                <a16:creationId xmlns:a16="http://schemas.microsoft.com/office/drawing/2014/main" id="{9C1A7DCE-D295-4BE8-A2B3-E7CF6326283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0245" r="10245"/>
          <a:stretch>
            <a:fillRect/>
          </a:stretch>
        </p:blipFill>
        <p:spPr/>
      </p:pic>
      <p:pic>
        <p:nvPicPr>
          <p:cNvPr id="7" name="Bildobjekt 6">
            <a:extLst>
              <a:ext uri="{FF2B5EF4-FFF2-40B4-BE49-F238E27FC236}">
                <a16:creationId xmlns:a16="http://schemas.microsoft.com/office/drawing/2014/main" id="{992FC62F-B44F-43A7-B4CE-253D1EE2C03D}"/>
              </a:ext>
            </a:extLst>
          </p:cNvPr>
          <p:cNvPicPr>
            <a:picLocks noChangeAspect="1"/>
          </p:cNvPicPr>
          <p:nvPr/>
        </p:nvPicPr>
        <p:blipFill>
          <a:blip r:embed="rId3"/>
          <a:stretch>
            <a:fillRect/>
          </a:stretch>
        </p:blipFill>
        <p:spPr>
          <a:xfrm>
            <a:off x="598141" y="4848225"/>
            <a:ext cx="7229475" cy="819150"/>
          </a:xfrm>
          <a:prstGeom prst="rect">
            <a:avLst/>
          </a:prstGeom>
        </p:spPr>
      </p:pic>
      <p:sp>
        <p:nvSpPr>
          <p:cNvPr id="9" name="textruta 8">
            <a:extLst>
              <a:ext uri="{FF2B5EF4-FFF2-40B4-BE49-F238E27FC236}">
                <a16:creationId xmlns:a16="http://schemas.microsoft.com/office/drawing/2014/main" id="{3215386C-AC73-4B77-8328-63728EAC090C}"/>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spTree>
    <p:extLst>
      <p:ext uri="{BB962C8B-B14F-4D97-AF65-F5344CB8AC3E}">
        <p14:creationId xmlns:p14="http://schemas.microsoft.com/office/powerpoint/2010/main" val="219083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9B7F370-B8B7-4499-B291-91A781E6C197}"/>
              </a:ext>
            </a:extLst>
          </p:cNvPr>
          <p:cNvSpPr>
            <a:spLocks noGrp="1"/>
          </p:cNvSpPr>
          <p:nvPr>
            <p:ph type="title"/>
          </p:nvPr>
        </p:nvSpPr>
        <p:spPr/>
        <p:txBody>
          <a:bodyPr/>
          <a:lstStyle/>
          <a:p>
            <a:r>
              <a:rPr lang="sv-SE" dirty="0"/>
              <a:t>Krånglig inloggning för invånaren</a:t>
            </a:r>
          </a:p>
        </p:txBody>
      </p:sp>
      <p:sp>
        <p:nvSpPr>
          <p:cNvPr id="3" name="Platshållare för innehåll 2">
            <a:extLst>
              <a:ext uri="{FF2B5EF4-FFF2-40B4-BE49-F238E27FC236}">
                <a16:creationId xmlns:a16="http://schemas.microsoft.com/office/drawing/2014/main" id="{5A8AC8A9-C3B3-482D-96FC-CC8052B0CA41}"/>
              </a:ext>
            </a:extLst>
          </p:cNvPr>
          <p:cNvSpPr>
            <a:spLocks noGrp="1"/>
          </p:cNvSpPr>
          <p:nvPr>
            <p:ph idx="1"/>
          </p:nvPr>
        </p:nvSpPr>
        <p:spPr/>
        <p:txBody>
          <a:bodyPr/>
          <a:lstStyle/>
          <a:p>
            <a:pPr marL="0" indent="0">
              <a:buNone/>
            </a:pPr>
            <a:r>
              <a:rPr lang="sv-SE" dirty="0"/>
              <a:t>Både invånare och personal har uttryckt att det är lång väg för invånare att komma in i Stöd och behandling. Vi har tyvärr inte fått någon tydligare bild av det.</a:t>
            </a:r>
          </a:p>
          <a:p>
            <a:pPr marL="0" indent="0">
              <a:buNone/>
            </a:pPr>
            <a:endParaRPr lang="sv-SE" dirty="0"/>
          </a:p>
          <a:p>
            <a:r>
              <a:rPr lang="sv-SE" dirty="0"/>
              <a:t>Navigationsbaren och startsidan. </a:t>
            </a:r>
          </a:p>
          <a:p>
            <a:r>
              <a:rPr lang="sv-SE" dirty="0"/>
              <a:t>Tar tacksamt emot mer information om ni har kring denna punkt. </a:t>
            </a:r>
          </a:p>
        </p:txBody>
      </p:sp>
      <p:sp>
        <p:nvSpPr>
          <p:cNvPr id="4" name="Platshållare för sidfot 3">
            <a:extLst>
              <a:ext uri="{FF2B5EF4-FFF2-40B4-BE49-F238E27FC236}">
                <a16:creationId xmlns:a16="http://schemas.microsoft.com/office/drawing/2014/main" id="{240B1376-E554-4BBC-A3A8-F80DA78B85A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6C57C71-7620-49D4-B21E-78BAEFE5AC2E}"/>
              </a:ext>
            </a:extLst>
          </p:cNvPr>
          <p:cNvSpPr>
            <a:spLocks noGrp="1"/>
          </p:cNvSpPr>
          <p:nvPr>
            <p:ph type="sldNum" sz="quarter" idx="12"/>
          </p:nvPr>
        </p:nvSpPr>
        <p:spPr/>
        <p:txBody>
          <a:bodyPr/>
          <a:lstStyle/>
          <a:p>
            <a:fld id="{7FF155A8-5C6D-4241-95DF-81E4F2B16EE5}" type="slidenum">
              <a:rPr lang="sv-SE" smtClean="0"/>
              <a:t>43</a:t>
            </a:fld>
            <a:endParaRPr lang="sv-SE"/>
          </a:p>
        </p:txBody>
      </p:sp>
      <p:pic>
        <p:nvPicPr>
          <p:cNvPr id="7" name="Platshållare för bild 7" descr="En bild som visar text, person&#10;&#10;Automatiskt genererad beskrivning">
            <a:extLst>
              <a:ext uri="{FF2B5EF4-FFF2-40B4-BE49-F238E27FC236}">
                <a16:creationId xmlns:a16="http://schemas.microsoft.com/office/drawing/2014/main" id="{C91942F4-527F-4CD8-8CC8-8329C2BD6570}"/>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0245" r="10245"/>
          <a:stretch>
            <a:fillRect/>
          </a:stretch>
        </p:blipFill>
        <p:spPr>
          <a:xfrm>
            <a:off x="7449690" y="994561"/>
            <a:ext cx="4110037" cy="3709988"/>
          </a:xfrm>
        </p:spPr>
      </p:pic>
      <p:pic>
        <p:nvPicPr>
          <p:cNvPr id="8" name="Bildobjekt 7">
            <a:extLst>
              <a:ext uri="{FF2B5EF4-FFF2-40B4-BE49-F238E27FC236}">
                <a16:creationId xmlns:a16="http://schemas.microsoft.com/office/drawing/2014/main" id="{8552DAE9-7F57-4684-8213-3992961D330D}"/>
              </a:ext>
            </a:extLst>
          </p:cNvPr>
          <p:cNvPicPr>
            <a:picLocks noChangeAspect="1"/>
          </p:cNvPicPr>
          <p:nvPr/>
        </p:nvPicPr>
        <p:blipFill>
          <a:blip r:embed="rId3"/>
          <a:stretch>
            <a:fillRect/>
          </a:stretch>
        </p:blipFill>
        <p:spPr>
          <a:xfrm>
            <a:off x="471748" y="4704549"/>
            <a:ext cx="7296150" cy="1219200"/>
          </a:xfrm>
          <a:prstGeom prst="rect">
            <a:avLst/>
          </a:prstGeom>
        </p:spPr>
      </p:pic>
      <p:sp>
        <p:nvSpPr>
          <p:cNvPr id="9" name="textruta 8">
            <a:extLst>
              <a:ext uri="{FF2B5EF4-FFF2-40B4-BE49-F238E27FC236}">
                <a16:creationId xmlns:a16="http://schemas.microsoft.com/office/drawing/2014/main" id="{401AF0CD-E2D5-4F03-8549-7C765C854846}"/>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spTree>
    <p:extLst>
      <p:ext uri="{BB962C8B-B14F-4D97-AF65-F5344CB8AC3E}">
        <p14:creationId xmlns:p14="http://schemas.microsoft.com/office/powerpoint/2010/main" val="374899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AF0FEEA-6CA8-4B6F-8557-92C3A2F82640}"/>
              </a:ext>
            </a:extLst>
          </p:cNvPr>
          <p:cNvSpPr>
            <a:spLocks noGrp="1"/>
          </p:cNvSpPr>
          <p:nvPr>
            <p:ph type="title"/>
          </p:nvPr>
        </p:nvSpPr>
        <p:spPr/>
        <p:txBody>
          <a:bodyPr/>
          <a:lstStyle/>
          <a:p>
            <a:r>
              <a:rPr lang="sv-SE" dirty="0"/>
              <a:t>Meddelande</a:t>
            </a:r>
          </a:p>
        </p:txBody>
      </p:sp>
      <p:sp>
        <p:nvSpPr>
          <p:cNvPr id="3" name="Platshållare för innehåll 2">
            <a:extLst>
              <a:ext uri="{FF2B5EF4-FFF2-40B4-BE49-F238E27FC236}">
                <a16:creationId xmlns:a16="http://schemas.microsoft.com/office/drawing/2014/main" id="{BC531F08-EA3A-469B-923F-1ECB1EE5924C}"/>
              </a:ext>
            </a:extLst>
          </p:cNvPr>
          <p:cNvSpPr>
            <a:spLocks noGrp="1"/>
          </p:cNvSpPr>
          <p:nvPr>
            <p:ph idx="1"/>
          </p:nvPr>
        </p:nvSpPr>
        <p:spPr/>
        <p:txBody>
          <a:bodyPr/>
          <a:lstStyle/>
          <a:p>
            <a:r>
              <a:rPr lang="sv-SE" dirty="0"/>
              <a:t>Vill kunna skicka filer i meddelanden. </a:t>
            </a:r>
          </a:p>
          <a:p>
            <a:r>
              <a:rPr lang="sv-SE" dirty="0"/>
              <a:t>Vill kunna ta tillbaka (ångra) eller redigera meddelanden. </a:t>
            </a:r>
          </a:p>
          <a:p>
            <a:r>
              <a:rPr lang="sv-SE" dirty="0"/>
              <a:t>Stavningskontroll.</a:t>
            </a:r>
          </a:p>
          <a:p>
            <a:r>
              <a:rPr lang="sv-SE" dirty="0"/>
              <a:t>Rörigt i meddelandefunktionen. </a:t>
            </a:r>
          </a:p>
          <a:p>
            <a:r>
              <a:rPr lang="sv-SE" dirty="0"/>
              <a:t>Visa i gränssnittet vilka meddelanden som har aviserats och vilka som inte har det. </a:t>
            </a:r>
          </a:p>
          <a:p>
            <a:endParaRPr lang="sv-SE" dirty="0"/>
          </a:p>
        </p:txBody>
      </p:sp>
      <p:sp>
        <p:nvSpPr>
          <p:cNvPr id="4" name="Platshållare för sidfot 3">
            <a:extLst>
              <a:ext uri="{FF2B5EF4-FFF2-40B4-BE49-F238E27FC236}">
                <a16:creationId xmlns:a16="http://schemas.microsoft.com/office/drawing/2014/main" id="{D7FBF8CA-6521-4D07-A6E5-EE7F4CB8658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810577B-6872-4262-9444-00DFF768C201}"/>
              </a:ext>
            </a:extLst>
          </p:cNvPr>
          <p:cNvSpPr>
            <a:spLocks noGrp="1"/>
          </p:cNvSpPr>
          <p:nvPr>
            <p:ph type="sldNum" sz="quarter" idx="12"/>
          </p:nvPr>
        </p:nvSpPr>
        <p:spPr/>
        <p:txBody>
          <a:bodyPr/>
          <a:lstStyle/>
          <a:p>
            <a:fld id="{7FF155A8-5C6D-4241-95DF-81E4F2B16EE5}" type="slidenum">
              <a:rPr lang="sv-SE" smtClean="0"/>
              <a:t>44</a:t>
            </a:fld>
            <a:endParaRPr lang="sv-SE"/>
          </a:p>
        </p:txBody>
      </p:sp>
      <p:pic>
        <p:nvPicPr>
          <p:cNvPr id="10" name="Bildobjekt 9" descr="En bild som visar inomhus&#10;&#10;Automatiskt genererad beskrivning">
            <a:extLst>
              <a:ext uri="{FF2B5EF4-FFF2-40B4-BE49-F238E27FC236}">
                <a16:creationId xmlns:a16="http://schemas.microsoft.com/office/drawing/2014/main" id="{4D64342C-FC75-42B0-BEA3-434C2B37681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03126" y="386590"/>
            <a:ext cx="2715765" cy="5431530"/>
          </a:xfrm>
          <a:prstGeom prst="rect">
            <a:avLst/>
          </a:prstGeom>
        </p:spPr>
      </p:pic>
      <p:pic>
        <p:nvPicPr>
          <p:cNvPr id="7" name="Bildobjekt 6">
            <a:extLst>
              <a:ext uri="{FF2B5EF4-FFF2-40B4-BE49-F238E27FC236}">
                <a16:creationId xmlns:a16="http://schemas.microsoft.com/office/drawing/2014/main" id="{6F0719F7-A90B-44CC-99E3-54C80EFEDDD4}"/>
              </a:ext>
            </a:extLst>
          </p:cNvPr>
          <p:cNvPicPr>
            <a:picLocks noChangeAspect="1"/>
          </p:cNvPicPr>
          <p:nvPr/>
        </p:nvPicPr>
        <p:blipFill>
          <a:blip r:embed="rId3"/>
          <a:stretch>
            <a:fillRect/>
          </a:stretch>
        </p:blipFill>
        <p:spPr>
          <a:xfrm>
            <a:off x="471748" y="4750389"/>
            <a:ext cx="8277225" cy="828675"/>
          </a:xfrm>
          <a:prstGeom prst="rect">
            <a:avLst/>
          </a:prstGeom>
        </p:spPr>
      </p:pic>
      <p:sp>
        <p:nvSpPr>
          <p:cNvPr id="9" name="textruta 8">
            <a:extLst>
              <a:ext uri="{FF2B5EF4-FFF2-40B4-BE49-F238E27FC236}">
                <a16:creationId xmlns:a16="http://schemas.microsoft.com/office/drawing/2014/main" id="{5B0DE662-25E1-4CAC-93A0-C01973674C04}"/>
              </a:ext>
            </a:extLst>
          </p:cNvPr>
          <p:cNvSpPr txBox="1"/>
          <p:nvPr/>
        </p:nvSpPr>
        <p:spPr>
          <a:xfrm>
            <a:off x="6785002" y="6217536"/>
            <a:ext cx="3764032" cy="553998"/>
          </a:xfrm>
          <a:prstGeom prst="rect">
            <a:avLst/>
          </a:prstGeom>
          <a:noFill/>
          <a:ln>
            <a:solidFill>
              <a:schemeClr val="tx1"/>
            </a:solidFill>
            <a:prstDash val="sysDash"/>
          </a:ln>
        </p:spPr>
        <p:txBody>
          <a:bodyPr wrap="square" rtlCol="0">
            <a:spAutoFit/>
          </a:bodyPr>
          <a:lstStyle/>
          <a:p>
            <a:r>
              <a:rPr lang="sv-SE" sz="1000" dirty="0"/>
              <a:t>Indexnivåerna klassificeras: 0–49% = mycket lågt, </a:t>
            </a:r>
          </a:p>
          <a:p>
            <a:r>
              <a:rPr lang="sv-SE" sz="1000" dirty="0"/>
              <a:t>50-59% = lågt, 60–69% = godkänt, 70–79% = högt </a:t>
            </a:r>
          </a:p>
          <a:p>
            <a:r>
              <a:rPr lang="sv-SE" sz="1000" dirty="0"/>
              <a:t>80% + = mycket högt.</a:t>
            </a:r>
          </a:p>
        </p:txBody>
      </p:sp>
    </p:spTree>
    <p:extLst>
      <p:ext uri="{BB962C8B-B14F-4D97-AF65-F5344CB8AC3E}">
        <p14:creationId xmlns:p14="http://schemas.microsoft.com/office/powerpoint/2010/main" val="3904401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6C6F002-6A71-40D7-87C2-3B41B8F04C6D}"/>
              </a:ext>
            </a:extLst>
          </p:cNvPr>
          <p:cNvSpPr>
            <a:spLocks noGrp="1"/>
          </p:cNvSpPr>
          <p:nvPr>
            <p:ph type="title"/>
          </p:nvPr>
        </p:nvSpPr>
        <p:spPr>
          <a:xfrm>
            <a:off x="812132" y="405669"/>
            <a:ext cx="10567736" cy="1149264"/>
          </a:xfrm>
        </p:spPr>
        <p:txBody>
          <a:bodyPr/>
          <a:lstStyle/>
          <a:p>
            <a:r>
              <a:rPr lang="sv-SE" dirty="0"/>
              <a:t>Vad har den nationella förvaltningen uppmärksammat för er i regionerna? </a:t>
            </a:r>
            <a:br>
              <a:rPr lang="sv-SE" dirty="0"/>
            </a:br>
            <a:endParaRPr lang="sv-SE" dirty="0"/>
          </a:p>
        </p:txBody>
      </p:sp>
      <p:sp>
        <p:nvSpPr>
          <p:cNvPr id="3" name="Platshållare för innehåll 2">
            <a:extLst>
              <a:ext uri="{FF2B5EF4-FFF2-40B4-BE49-F238E27FC236}">
                <a16:creationId xmlns:a16="http://schemas.microsoft.com/office/drawing/2014/main" id="{3D3F8FDD-22A7-465B-BABC-5ABFD28DC497}"/>
              </a:ext>
            </a:extLst>
          </p:cNvPr>
          <p:cNvSpPr>
            <a:spLocks noGrp="1"/>
          </p:cNvSpPr>
          <p:nvPr>
            <p:ph idx="1"/>
          </p:nvPr>
        </p:nvSpPr>
        <p:spPr>
          <a:xfrm>
            <a:off x="922424" y="1764711"/>
            <a:ext cx="5919810" cy="3564527"/>
          </a:xfrm>
        </p:spPr>
        <p:txBody>
          <a:bodyPr/>
          <a:lstStyle/>
          <a:p>
            <a:r>
              <a:rPr lang="sv-SE" sz="1800" b="0" u="none" baseline="0" dirty="0"/>
              <a:t>Vilka moment finns?</a:t>
            </a:r>
          </a:p>
          <a:p>
            <a:r>
              <a:rPr lang="sv-SE" dirty="0"/>
              <a:t>Innehållet i momenten</a:t>
            </a:r>
            <a:endParaRPr lang="sv-SE" sz="1800" b="0" u="none" baseline="0" dirty="0"/>
          </a:p>
          <a:p>
            <a:r>
              <a:rPr lang="sv-SE" sz="1800" b="0" u="none" baseline="0" dirty="0"/>
              <a:t>Webbläsare</a:t>
            </a:r>
          </a:p>
          <a:p>
            <a:r>
              <a:rPr lang="sv-SE" sz="1800" b="0" u="none" baseline="0" dirty="0"/>
              <a:t>Utbildningsbehov </a:t>
            </a:r>
          </a:p>
          <a:p>
            <a:pPr marL="0" indent="0">
              <a:buNone/>
            </a:pPr>
            <a:endParaRPr lang="sv-SE" sz="1800" b="0" u="none" baseline="0" dirty="0"/>
          </a:p>
        </p:txBody>
      </p:sp>
      <p:sp>
        <p:nvSpPr>
          <p:cNvPr id="4" name="Platshållare för sidfot 3">
            <a:extLst>
              <a:ext uri="{FF2B5EF4-FFF2-40B4-BE49-F238E27FC236}">
                <a16:creationId xmlns:a16="http://schemas.microsoft.com/office/drawing/2014/main" id="{47E1F7E6-E024-4866-92FB-24F27CF13BDB}"/>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16F93BC0-5CDE-4A6B-8DD1-E657BD50B88A}"/>
              </a:ext>
            </a:extLst>
          </p:cNvPr>
          <p:cNvSpPr>
            <a:spLocks noGrp="1"/>
          </p:cNvSpPr>
          <p:nvPr>
            <p:ph type="sldNum" sz="quarter" idx="12"/>
          </p:nvPr>
        </p:nvSpPr>
        <p:spPr/>
        <p:txBody>
          <a:bodyPr/>
          <a:lstStyle/>
          <a:p>
            <a:fld id="{7FF155A8-5C6D-4241-95DF-81E4F2B16EE5}" type="slidenum">
              <a:rPr lang="sv-SE" smtClean="0"/>
              <a:t>45</a:t>
            </a:fld>
            <a:endParaRPr lang="sv-SE"/>
          </a:p>
        </p:txBody>
      </p:sp>
      <p:pic>
        <p:nvPicPr>
          <p:cNvPr id="7" name="Platshållare för innehåll 13">
            <a:extLst>
              <a:ext uri="{FF2B5EF4-FFF2-40B4-BE49-F238E27FC236}">
                <a16:creationId xmlns:a16="http://schemas.microsoft.com/office/drawing/2014/main" id="{850E5139-2761-4A80-9D98-6A4DC2A0CA18}"/>
              </a:ext>
            </a:extLst>
          </p:cNvPr>
          <p:cNvPicPr>
            <a:picLocks noChangeAspect="1"/>
          </p:cNvPicPr>
          <p:nvPr/>
        </p:nvPicPr>
        <p:blipFill rotWithShape="1">
          <a:blip r:embed="rId2">
            <a:extLst>
              <a:ext uri="{28A0092B-C50C-407E-A947-70E740481C1C}">
                <a14:useLocalDpi xmlns:a14="http://schemas.microsoft.com/office/drawing/2010/main" val="0"/>
              </a:ext>
            </a:extLst>
          </a:blip>
          <a:stretch/>
        </p:blipFill>
        <p:spPr>
          <a:xfrm>
            <a:off x="6842234" y="1554933"/>
            <a:ext cx="4314097" cy="3160076"/>
          </a:xfrm>
          <a:prstGeom prst="roundRect">
            <a:avLst>
              <a:gd name="adj" fmla="val 1369"/>
            </a:avLst>
          </a:prstGeom>
          <a:noFill/>
        </p:spPr>
      </p:pic>
    </p:spTree>
    <p:extLst>
      <p:ext uri="{BB962C8B-B14F-4D97-AF65-F5344CB8AC3E}">
        <p14:creationId xmlns:p14="http://schemas.microsoft.com/office/powerpoint/2010/main" val="4252580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ECB568-4F7E-485D-A2B8-C96D72AF6073}"/>
              </a:ext>
            </a:extLst>
          </p:cNvPr>
          <p:cNvSpPr>
            <a:spLocks noGrp="1"/>
          </p:cNvSpPr>
          <p:nvPr>
            <p:ph type="title"/>
          </p:nvPr>
        </p:nvSpPr>
        <p:spPr/>
        <p:txBody>
          <a:bodyPr/>
          <a:lstStyle/>
          <a:p>
            <a:r>
              <a:rPr lang="sv-SE" dirty="0"/>
              <a:t>Vilka moment finns?</a:t>
            </a:r>
          </a:p>
        </p:txBody>
      </p:sp>
      <p:sp>
        <p:nvSpPr>
          <p:cNvPr id="3" name="Platshållare för innehåll 2">
            <a:extLst>
              <a:ext uri="{FF2B5EF4-FFF2-40B4-BE49-F238E27FC236}">
                <a16:creationId xmlns:a16="http://schemas.microsoft.com/office/drawing/2014/main" id="{5BE2C21E-3BB5-44D9-ADD2-90C84D4B7F5E}"/>
              </a:ext>
            </a:extLst>
          </p:cNvPr>
          <p:cNvSpPr>
            <a:spLocks noGrp="1"/>
          </p:cNvSpPr>
          <p:nvPr>
            <p:ph idx="1"/>
          </p:nvPr>
        </p:nvSpPr>
        <p:spPr/>
        <p:txBody>
          <a:bodyPr/>
          <a:lstStyle/>
          <a:p>
            <a:r>
              <a:rPr lang="sv-SE" dirty="0"/>
              <a:t>Personal vet inte vilka moment som finns tillgängliga för invånarna. De eftersöker information om vilka moment som finns samt tydligare information om vem de lämpar sig för. </a:t>
            </a:r>
          </a:p>
          <a:p>
            <a:endParaRPr lang="sv-SE" dirty="0"/>
          </a:p>
        </p:txBody>
      </p:sp>
      <p:sp>
        <p:nvSpPr>
          <p:cNvPr id="4" name="Platshållare för sidfot 3">
            <a:extLst>
              <a:ext uri="{FF2B5EF4-FFF2-40B4-BE49-F238E27FC236}">
                <a16:creationId xmlns:a16="http://schemas.microsoft.com/office/drawing/2014/main" id="{790268F8-B4BB-421D-9C40-339A587BCD9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BBBCE36F-2877-4BA0-B821-77DA9D79DC66}"/>
              </a:ext>
            </a:extLst>
          </p:cNvPr>
          <p:cNvSpPr>
            <a:spLocks noGrp="1"/>
          </p:cNvSpPr>
          <p:nvPr>
            <p:ph type="sldNum" sz="quarter" idx="12"/>
          </p:nvPr>
        </p:nvSpPr>
        <p:spPr/>
        <p:txBody>
          <a:bodyPr/>
          <a:lstStyle/>
          <a:p>
            <a:fld id="{7FF155A8-5C6D-4241-95DF-81E4F2B16EE5}" type="slidenum">
              <a:rPr lang="sv-SE" smtClean="0"/>
              <a:t>46</a:t>
            </a:fld>
            <a:endParaRPr lang="sv-SE"/>
          </a:p>
        </p:txBody>
      </p:sp>
      <p:pic>
        <p:nvPicPr>
          <p:cNvPr id="8" name="Bildobjekt 7" descr="En bild som visar text&#10;&#10;Automatiskt genererad beskrivning">
            <a:extLst>
              <a:ext uri="{FF2B5EF4-FFF2-40B4-BE49-F238E27FC236}">
                <a16:creationId xmlns:a16="http://schemas.microsoft.com/office/drawing/2014/main" id="{14C456DC-5518-4298-AD4E-D85D84B881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42234" y="1486983"/>
            <a:ext cx="5155583" cy="3429000"/>
          </a:xfrm>
          <a:prstGeom prst="rect">
            <a:avLst/>
          </a:prstGeom>
          <a:ln>
            <a:noFill/>
          </a:ln>
          <a:effectLst>
            <a:softEdge rad="112500"/>
          </a:effectLst>
        </p:spPr>
      </p:pic>
    </p:spTree>
    <p:extLst>
      <p:ext uri="{BB962C8B-B14F-4D97-AF65-F5344CB8AC3E}">
        <p14:creationId xmlns:p14="http://schemas.microsoft.com/office/powerpoint/2010/main" val="347826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DD813AE4-58B6-4732-AAFD-37639365985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2811" y="2100404"/>
            <a:ext cx="3694949" cy="4010685"/>
          </a:xfrm>
          <a:prstGeom prst="rect">
            <a:avLst/>
          </a:prstGeom>
        </p:spPr>
      </p:pic>
      <p:sp>
        <p:nvSpPr>
          <p:cNvPr id="2" name="Rubrik 1">
            <a:extLst>
              <a:ext uri="{FF2B5EF4-FFF2-40B4-BE49-F238E27FC236}">
                <a16:creationId xmlns:a16="http://schemas.microsoft.com/office/drawing/2014/main" id="{3BD6B972-E3C4-4270-8B46-3BEDF0C98871}"/>
              </a:ext>
            </a:extLst>
          </p:cNvPr>
          <p:cNvSpPr>
            <a:spLocks noGrp="1"/>
          </p:cNvSpPr>
          <p:nvPr>
            <p:ph type="title"/>
          </p:nvPr>
        </p:nvSpPr>
        <p:spPr/>
        <p:txBody>
          <a:bodyPr/>
          <a:lstStyle/>
          <a:p>
            <a:r>
              <a:rPr lang="sv-SE" dirty="0"/>
              <a:t>Citat från personal om vilka moment som finns </a:t>
            </a:r>
          </a:p>
        </p:txBody>
      </p:sp>
      <p:sp>
        <p:nvSpPr>
          <p:cNvPr id="4" name="Platshållare för sidfot 3">
            <a:extLst>
              <a:ext uri="{FF2B5EF4-FFF2-40B4-BE49-F238E27FC236}">
                <a16:creationId xmlns:a16="http://schemas.microsoft.com/office/drawing/2014/main" id="{EDDBE6DC-1F0E-4DD9-9591-9D02F02B816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68011E6-61D4-43B4-9FC0-B81B5D489944}"/>
              </a:ext>
            </a:extLst>
          </p:cNvPr>
          <p:cNvSpPr>
            <a:spLocks noGrp="1"/>
          </p:cNvSpPr>
          <p:nvPr>
            <p:ph type="sldNum" sz="quarter" idx="12"/>
          </p:nvPr>
        </p:nvSpPr>
        <p:spPr/>
        <p:txBody>
          <a:bodyPr/>
          <a:lstStyle/>
          <a:p>
            <a:fld id="{D1B389D8-6223-4B1D-82AB-19C377706A8C}" type="slidenum">
              <a:rPr lang="sv-SE" smtClean="0"/>
              <a:t>47</a:t>
            </a:fld>
            <a:endParaRPr lang="sv-SE"/>
          </a:p>
        </p:txBody>
      </p:sp>
      <p:sp>
        <p:nvSpPr>
          <p:cNvPr id="7" name="Pratbubbla: rektangel med rundade hörn 6">
            <a:extLst>
              <a:ext uri="{FF2B5EF4-FFF2-40B4-BE49-F238E27FC236}">
                <a16:creationId xmlns:a16="http://schemas.microsoft.com/office/drawing/2014/main" id="{306A4ED9-0B53-42E7-847C-831E28AAFCB0}"/>
              </a:ext>
            </a:extLst>
          </p:cNvPr>
          <p:cNvSpPr/>
          <p:nvPr/>
        </p:nvSpPr>
        <p:spPr>
          <a:xfrm>
            <a:off x="5640309" y="1993976"/>
            <a:ext cx="6120143" cy="3266087"/>
          </a:xfrm>
          <a:prstGeom prst="wedgeRoundRectCallout">
            <a:avLst>
              <a:gd name="adj1" fmla="val -77121"/>
              <a:gd name="adj2" fmla="val 12099"/>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Det jag kan uppleva som är lite svårt är att hjälpa patienter att jobba i programmet om de känner sig nervösa och stressade. Det verkar som att dom inte riktigt hittar så lätta och att dom klickar runt och inte fullt ut får koll på läget i början. Jag skulle vilja kunna se deras version </a:t>
            </a:r>
            <a:r>
              <a:rPr lang="sv-SE" sz="1400" i="1" dirty="0" err="1">
                <a:solidFill>
                  <a:srgbClr val="000000"/>
                </a:solidFill>
                <a:latin typeface="Segoe UI" panose="020B0502040204020203" pitchFamily="34" charset="0"/>
              </a:rPr>
              <a:t>paralellt</a:t>
            </a:r>
            <a:r>
              <a:rPr lang="sv-SE" sz="1400" i="1" dirty="0">
                <a:solidFill>
                  <a:srgbClr val="000000"/>
                </a:solidFill>
                <a:latin typeface="Segoe UI" panose="020B0502040204020203" pitchFamily="34" charset="0"/>
              </a:rPr>
              <a:t> på nåt vis så jag ex via telefon kan guida dom var de skall klicka.  </a:t>
            </a:r>
          </a:p>
          <a:p>
            <a:endParaRPr lang="sv-SE" sz="1400" i="1" dirty="0">
              <a:solidFill>
                <a:srgbClr val="000000"/>
              </a:solidFill>
              <a:latin typeface="Segoe UI" panose="020B0502040204020203" pitchFamily="34" charset="0"/>
            </a:endParaRPr>
          </a:p>
          <a:p>
            <a:r>
              <a:rPr lang="sv-SE" sz="1400" i="1" dirty="0">
                <a:solidFill>
                  <a:srgbClr val="000000"/>
                </a:solidFill>
                <a:latin typeface="Segoe UI" panose="020B0502040204020203" pitchFamily="34" charset="0"/>
              </a:rPr>
              <a:t>Du skulle även vara bar att manual för vilka program som lämpar sig för vilka typer av symtom. Ex hälsoångest, är det ångestprogrammet eller oro? Vid uttalad dålig självkänsla och ångest är det ångestprogrammet eller självkänsla som initialt lämpar sig bäst? /…/</a:t>
            </a:r>
          </a:p>
          <a:p>
            <a:endParaRPr lang="sv-SE" sz="1400" i="1" dirty="0">
              <a:solidFill>
                <a:srgbClr val="000000"/>
              </a:solidFill>
              <a:latin typeface="Segoe UI" panose="020B0502040204020203" pitchFamily="34" charset="0"/>
            </a:endParaRPr>
          </a:p>
          <a:p>
            <a:r>
              <a:rPr lang="sv-SE" sz="1400" i="1" dirty="0">
                <a:solidFill>
                  <a:srgbClr val="000000"/>
                </a:solidFill>
                <a:latin typeface="Segoe UI" panose="020B0502040204020203" pitchFamily="34" charset="0"/>
              </a:rPr>
              <a:t>/…/ I övrigt tycker jag att detta är ett mkt bra verktyg.</a:t>
            </a:r>
          </a:p>
          <a:p>
            <a:endParaRPr lang="sv-SE" sz="1400" i="1" dirty="0">
              <a:solidFill>
                <a:srgbClr val="000000"/>
              </a:solidFill>
              <a:latin typeface="Segoe UI" panose="020B0502040204020203" pitchFamily="34" charset="0"/>
            </a:endParaRPr>
          </a:p>
        </p:txBody>
      </p:sp>
    </p:spTree>
    <p:extLst>
      <p:ext uri="{BB962C8B-B14F-4D97-AF65-F5344CB8AC3E}">
        <p14:creationId xmlns:p14="http://schemas.microsoft.com/office/powerpoint/2010/main" val="41865996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1DE8DF8-21EE-47FB-BC94-E6DD0AA91457}"/>
              </a:ext>
            </a:extLst>
          </p:cNvPr>
          <p:cNvSpPr>
            <a:spLocks noGrp="1"/>
          </p:cNvSpPr>
          <p:nvPr>
            <p:ph type="title"/>
          </p:nvPr>
        </p:nvSpPr>
        <p:spPr/>
        <p:txBody>
          <a:bodyPr/>
          <a:lstStyle/>
          <a:p>
            <a:r>
              <a:rPr lang="sv-SE" dirty="0"/>
              <a:t>Innehåll i moment</a:t>
            </a:r>
          </a:p>
        </p:txBody>
      </p:sp>
      <p:sp>
        <p:nvSpPr>
          <p:cNvPr id="3" name="Platshållare för innehåll 2">
            <a:extLst>
              <a:ext uri="{FF2B5EF4-FFF2-40B4-BE49-F238E27FC236}">
                <a16:creationId xmlns:a16="http://schemas.microsoft.com/office/drawing/2014/main" id="{20438FD9-94A8-428F-B926-D810C5700E6E}"/>
              </a:ext>
            </a:extLst>
          </p:cNvPr>
          <p:cNvSpPr>
            <a:spLocks noGrp="1"/>
          </p:cNvSpPr>
          <p:nvPr>
            <p:ph idx="1"/>
          </p:nvPr>
        </p:nvSpPr>
        <p:spPr/>
        <p:txBody>
          <a:bodyPr/>
          <a:lstStyle/>
          <a:p>
            <a:r>
              <a:rPr lang="sv-SE" dirty="0"/>
              <a:t>Mindre mängd text för att invånaren inte ska känna sig överrumplad. </a:t>
            </a:r>
          </a:p>
          <a:p>
            <a:r>
              <a:rPr lang="sv-SE" dirty="0"/>
              <a:t>Fler filmer och bilder för att bibehålla invånarens uppmärksamhet.</a:t>
            </a:r>
          </a:p>
          <a:p>
            <a:r>
              <a:rPr lang="sv-SE" dirty="0"/>
              <a:t>Behövs en röd tråd igenom hela momentet, exempelvis låta invånarens mål med momentet ligga kvar genom hela momentet.</a:t>
            </a:r>
          </a:p>
          <a:p>
            <a:r>
              <a:rPr lang="sv-SE" dirty="0"/>
              <a:t>För mycket för invånarna att gå igenom, de orkar inte. </a:t>
            </a:r>
          </a:p>
          <a:p>
            <a:r>
              <a:rPr lang="sv-SE" dirty="0"/>
              <a:t>Lättare språk för att det ska bli enklare för invånaren att ta till sig innehållet.</a:t>
            </a:r>
          </a:p>
          <a:p>
            <a:r>
              <a:rPr lang="sv-SE" dirty="0"/>
              <a:t>Det är för många formulär och för långa att fylla i för invånare, de tappar orken, motivationen och intresset. </a:t>
            </a:r>
          </a:p>
        </p:txBody>
      </p:sp>
      <p:sp>
        <p:nvSpPr>
          <p:cNvPr id="4" name="Platshållare för sidfot 3">
            <a:extLst>
              <a:ext uri="{FF2B5EF4-FFF2-40B4-BE49-F238E27FC236}">
                <a16:creationId xmlns:a16="http://schemas.microsoft.com/office/drawing/2014/main" id="{DAE7F4DF-86B1-4C6B-9D00-15529A71E410}"/>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01478208-8257-4111-9FDE-50E500F556D7}"/>
              </a:ext>
            </a:extLst>
          </p:cNvPr>
          <p:cNvSpPr>
            <a:spLocks noGrp="1"/>
          </p:cNvSpPr>
          <p:nvPr>
            <p:ph type="sldNum" sz="quarter" idx="12"/>
          </p:nvPr>
        </p:nvSpPr>
        <p:spPr/>
        <p:txBody>
          <a:bodyPr/>
          <a:lstStyle/>
          <a:p>
            <a:fld id="{7FF155A8-5C6D-4241-95DF-81E4F2B16EE5}" type="slidenum">
              <a:rPr lang="sv-SE" smtClean="0"/>
              <a:t>48</a:t>
            </a:fld>
            <a:endParaRPr lang="sv-SE"/>
          </a:p>
        </p:txBody>
      </p:sp>
      <p:pic>
        <p:nvPicPr>
          <p:cNvPr id="9" name="Bildobjekt 8">
            <a:extLst>
              <a:ext uri="{FF2B5EF4-FFF2-40B4-BE49-F238E27FC236}">
                <a16:creationId xmlns:a16="http://schemas.microsoft.com/office/drawing/2014/main" id="{3F33F60A-E33F-41B1-B74B-8FA67E2A4E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89275" y="1805624"/>
            <a:ext cx="5019470" cy="3339823"/>
          </a:xfrm>
          <a:prstGeom prst="rect">
            <a:avLst/>
          </a:prstGeom>
          <a:ln>
            <a:noFill/>
          </a:ln>
          <a:effectLst>
            <a:softEdge rad="112500"/>
          </a:effectLst>
        </p:spPr>
      </p:pic>
    </p:spTree>
    <p:extLst>
      <p:ext uri="{BB962C8B-B14F-4D97-AF65-F5344CB8AC3E}">
        <p14:creationId xmlns:p14="http://schemas.microsoft.com/office/powerpoint/2010/main" val="1265343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a:extLst>
              <a:ext uri="{FF2B5EF4-FFF2-40B4-BE49-F238E27FC236}">
                <a16:creationId xmlns:a16="http://schemas.microsoft.com/office/drawing/2014/main" id="{A654D871-10BD-48A9-B0A3-6D26D97E87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26522" y="2241022"/>
            <a:ext cx="1509634" cy="1636870"/>
          </a:xfrm>
          <a:prstGeom prst="rect">
            <a:avLst/>
          </a:prstGeom>
        </p:spPr>
      </p:pic>
      <p:sp>
        <p:nvSpPr>
          <p:cNvPr id="2" name="Rubrik 1">
            <a:extLst>
              <a:ext uri="{FF2B5EF4-FFF2-40B4-BE49-F238E27FC236}">
                <a16:creationId xmlns:a16="http://schemas.microsoft.com/office/drawing/2014/main" id="{3BD6B972-E3C4-4270-8B46-3BEDF0C98871}"/>
              </a:ext>
            </a:extLst>
          </p:cNvPr>
          <p:cNvSpPr>
            <a:spLocks noGrp="1"/>
          </p:cNvSpPr>
          <p:nvPr>
            <p:ph type="title"/>
          </p:nvPr>
        </p:nvSpPr>
        <p:spPr/>
        <p:txBody>
          <a:bodyPr/>
          <a:lstStyle/>
          <a:p>
            <a:r>
              <a:rPr lang="sv-SE" dirty="0"/>
              <a:t>Citat från personal om innehåll</a:t>
            </a:r>
          </a:p>
        </p:txBody>
      </p:sp>
      <p:sp>
        <p:nvSpPr>
          <p:cNvPr id="4" name="Platshållare för sidfot 3">
            <a:extLst>
              <a:ext uri="{FF2B5EF4-FFF2-40B4-BE49-F238E27FC236}">
                <a16:creationId xmlns:a16="http://schemas.microsoft.com/office/drawing/2014/main" id="{EDDBE6DC-1F0E-4DD9-9591-9D02F02B816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68011E6-61D4-43B4-9FC0-B81B5D489944}"/>
              </a:ext>
            </a:extLst>
          </p:cNvPr>
          <p:cNvSpPr>
            <a:spLocks noGrp="1"/>
          </p:cNvSpPr>
          <p:nvPr>
            <p:ph type="sldNum" sz="quarter" idx="12"/>
          </p:nvPr>
        </p:nvSpPr>
        <p:spPr/>
        <p:txBody>
          <a:bodyPr/>
          <a:lstStyle/>
          <a:p>
            <a:fld id="{D1B389D8-6223-4B1D-82AB-19C377706A8C}" type="slidenum">
              <a:rPr lang="sv-SE" smtClean="0"/>
              <a:t>49</a:t>
            </a:fld>
            <a:endParaRPr lang="sv-SE"/>
          </a:p>
        </p:txBody>
      </p:sp>
      <p:sp>
        <p:nvSpPr>
          <p:cNvPr id="7" name="Pratbubbla: rektangel med rundade hörn 6">
            <a:extLst>
              <a:ext uri="{FF2B5EF4-FFF2-40B4-BE49-F238E27FC236}">
                <a16:creationId xmlns:a16="http://schemas.microsoft.com/office/drawing/2014/main" id="{306A4ED9-0B53-42E7-847C-831E28AAFCB0}"/>
              </a:ext>
            </a:extLst>
          </p:cNvPr>
          <p:cNvSpPr/>
          <p:nvPr/>
        </p:nvSpPr>
        <p:spPr>
          <a:xfrm>
            <a:off x="7116024" y="84222"/>
            <a:ext cx="4901611" cy="2749514"/>
          </a:xfrm>
          <a:prstGeom prst="wedgeRoundRectCallout">
            <a:avLst>
              <a:gd name="adj1" fmla="val -70367"/>
              <a:gd name="adj2" fmla="val 44617"/>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Som behandlare har jag jobbat i flera olika program. Jag upplever att detta program har varit det krångligaste.</a:t>
            </a:r>
          </a:p>
          <a:p>
            <a:r>
              <a:rPr lang="sv-SE" sz="1400" i="1" dirty="0">
                <a:solidFill>
                  <a:srgbClr val="000000"/>
                </a:solidFill>
                <a:latin typeface="Segoe UI" panose="020B0502040204020203" pitchFamily="34" charset="0"/>
              </a:rPr>
              <a:t>Min uppfattning är att jag haft mer avhoppare i detta program än tidigare program. Orsak? Patienten har upplevt det för tufft, mycket text och långa kroppsskanningar. Patienten har tyckt att det varit krävande att varje gång behöva </a:t>
            </a:r>
            <a:r>
              <a:rPr lang="sv-SE" sz="1400" i="1" dirty="0" err="1">
                <a:solidFill>
                  <a:srgbClr val="000000"/>
                </a:solidFill>
                <a:latin typeface="Segoe UI" panose="020B0502040204020203" pitchFamily="34" charset="0"/>
              </a:rPr>
              <a:t>självskatta</a:t>
            </a:r>
            <a:r>
              <a:rPr lang="sv-SE" sz="1400" i="1" dirty="0">
                <a:solidFill>
                  <a:srgbClr val="000000"/>
                </a:solidFill>
                <a:latin typeface="Segoe UI" panose="020B0502040204020203" pitchFamily="34" charset="0"/>
              </a:rPr>
              <a:t> sig. Som behandlare har jag upplevt tex att aktuella orosanalyserna blivit otydliga, vilka är aktuella vilka är gamla? Tar onödig tid att få fram.</a:t>
            </a:r>
          </a:p>
          <a:p>
            <a:r>
              <a:rPr lang="sv-SE" sz="1400" i="1" dirty="0">
                <a:solidFill>
                  <a:srgbClr val="000000"/>
                </a:solidFill>
                <a:latin typeface="Segoe UI" panose="020B0502040204020203" pitchFamily="34" charset="0"/>
              </a:rPr>
              <a:t>Nej, jag är faktiskt inte nöjd med det här programmet. Kan göras mycket enklare.</a:t>
            </a:r>
          </a:p>
        </p:txBody>
      </p:sp>
      <p:sp>
        <p:nvSpPr>
          <p:cNvPr id="8" name="Pratbubbla: rektangel 7">
            <a:extLst>
              <a:ext uri="{FF2B5EF4-FFF2-40B4-BE49-F238E27FC236}">
                <a16:creationId xmlns:a16="http://schemas.microsoft.com/office/drawing/2014/main" id="{1BA78305-3BA1-404C-A117-3EE87ABEA69E}"/>
              </a:ext>
            </a:extLst>
          </p:cNvPr>
          <p:cNvSpPr/>
          <p:nvPr/>
        </p:nvSpPr>
        <p:spPr>
          <a:xfrm>
            <a:off x="7396681" y="3249051"/>
            <a:ext cx="4735514" cy="2749514"/>
          </a:xfrm>
          <a:prstGeom prst="wedgeRectCallout">
            <a:avLst>
              <a:gd name="adj1" fmla="val -73290"/>
              <a:gd name="adj2" fmla="val -46429"/>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Det är alldeles för många och långa formulär att fylla i inför varje avsnitt. Patienterna fyller i dom och kommer inte vidare med behandlingen. Dom bedöms redan av oss innan dom påbörjar behandling. Det behövs inte och är bara tidskrävande för patienterna. Exempelvis i Ångesthjälpen Ung med ett formulär på nästan 50 frågor?! När patienten redan fyllt i massor av formulär och varit på 45 minuters besök innan behandlingen påbörjas. Det är för mycket för dom. </a:t>
            </a:r>
            <a:r>
              <a:rPr lang="sv-SE" sz="1400" dirty="0"/>
              <a:t>?</a:t>
            </a:r>
            <a:endParaRPr lang="sv-SE" dirty="0"/>
          </a:p>
        </p:txBody>
      </p:sp>
      <p:sp>
        <p:nvSpPr>
          <p:cNvPr id="10" name="Platshållare för innehåll 5">
            <a:extLst>
              <a:ext uri="{FF2B5EF4-FFF2-40B4-BE49-F238E27FC236}">
                <a16:creationId xmlns:a16="http://schemas.microsoft.com/office/drawing/2014/main" id="{DF23F3EE-FD70-4DDE-9BDA-ED53F8C4FBD6}"/>
              </a:ext>
            </a:extLst>
          </p:cNvPr>
          <p:cNvSpPr txBox="1">
            <a:spLocks/>
          </p:cNvSpPr>
          <p:nvPr/>
        </p:nvSpPr>
        <p:spPr>
          <a:xfrm>
            <a:off x="89198" y="1333773"/>
            <a:ext cx="4467045" cy="2095227"/>
          </a:xfrm>
          <a:prstGeom prst="wedgeEllipseCallout">
            <a:avLst>
              <a:gd name="adj1" fmla="val 58102"/>
              <a:gd name="adj2" fmla="val 40197"/>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buNone/>
            </a:pPr>
            <a:r>
              <a:rPr lang="sv-SE" sz="1400" i="1" dirty="0">
                <a:solidFill>
                  <a:srgbClr val="000000"/>
                </a:solidFill>
                <a:latin typeface="Segoe UI" panose="020B0502040204020203" pitchFamily="34" charset="0"/>
              </a:rPr>
              <a:t>I den nya plusversionen är det mycket formulär som ska fyllas i. Jag märker att patienter ofta har fyllt i formulären men sedan inte gått vidare till behandlingen. Jag tror att det är för mycket formulär, det tar för lång tid för patienterna vilket gör att behandlingen drar ut på tiden.</a:t>
            </a:r>
          </a:p>
        </p:txBody>
      </p:sp>
      <p:sp>
        <p:nvSpPr>
          <p:cNvPr id="15" name="Platshållare för innehåll 5">
            <a:extLst>
              <a:ext uri="{FF2B5EF4-FFF2-40B4-BE49-F238E27FC236}">
                <a16:creationId xmlns:a16="http://schemas.microsoft.com/office/drawing/2014/main" id="{8976348B-D875-4918-A61A-1C3BCE76EF91}"/>
              </a:ext>
            </a:extLst>
          </p:cNvPr>
          <p:cNvSpPr txBox="1">
            <a:spLocks/>
          </p:cNvSpPr>
          <p:nvPr/>
        </p:nvSpPr>
        <p:spPr>
          <a:xfrm>
            <a:off x="3902894" y="4225103"/>
            <a:ext cx="3356889" cy="1882107"/>
          </a:xfrm>
          <a:prstGeom prst="wedgeEllipseCallout">
            <a:avLst>
              <a:gd name="adj1" fmla="val 612"/>
              <a:gd name="adj2" fmla="val -66207"/>
            </a:avLst>
          </a:prstGeom>
          <a:noFill/>
          <a:ln w="12700" cap="flat" cmpd="sng" algn="ctr">
            <a:solidFill>
              <a:schemeClr val="tx1"/>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0" indent="0" algn="ctr">
              <a:buNone/>
            </a:pPr>
            <a:r>
              <a:rPr lang="sv-SE" sz="1400" i="1" dirty="0">
                <a:solidFill>
                  <a:srgbClr val="000000"/>
                </a:solidFill>
                <a:latin typeface="Segoe UI" panose="020B0502040204020203" pitchFamily="34" charset="0"/>
              </a:rPr>
              <a:t>Vissa uppgifter är mastiga och jag märker att patienter fastnar (dagböcker, situationsanalyser). De behövs förstås i behandlingen men jag har tappat fler patienter än jag trodde.</a:t>
            </a:r>
          </a:p>
        </p:txBody>
      </p:sp>
      <p:sp>
        <p:nvSpPr>
          <p:cNvPr id="16" name="Pratbubbla: rektangel med rundade hörn 15">
            <a:extLst>
              <a:ext uri="{FF2B5EF4-FFF2-40B4-BE49-F238E27FC236}">
                <a16:creationId xmlns:a16="http://schemas.microsoft.com/office/drawing/2014/main" id="{A03F4768-13A1-4ECF-B8E2-78D8BC61BFEE}"/>
              </a:ext>
            </a:extLst>
          </p:cNvPr>
          <p:cNvSpPr/>
          <p:nvPr/>
        </p:nvSpPr>
        <p:spPr>
          <a:xfrm>
            <a:off x="157189" y="3633763"/>
            <a:ext cx="3448037" cy="2095226"/>
          </a:xfrm>
          <a:prstGeom prst="wedgeRoundRectCallout">
            <a:avLst>
              <a:gd name="adj1" fmla="val 83151"/>
              <a:gd name="adj2" fmla="val -49708"/>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buNone/>
            </a:pPr>
            <a:r>
              <a:rPr lang="sv-SE" sz="1400" i="1" dirty="0">
                <a:solidFill>
                  <a:srgbClr val="000000"/>
                </a:solidFill>
                <a:latin typeface="Segoe UI" panose="020B0502040204020203" pitchFamily="34" charset="0"/>
              </a:rPr>
              <a:t>Det är inte många procent utav patienterna, kanske 10, som fullföljer behandlingen med </a:t>
            </a:r>
            <a:r>
              <a:rPr lang="sv-SE" sz="1400" i="1" dirty="0" err="1">
                <a:solidFill>
                  <a:srgbClr val="000000"/>
                </a:solidFill>
                <a:latin typeface="Segoe UI" panose="020B0502040204020203" pitchFamily="34" charset="0"/>
              </a:rPr>
              <a:t>iKBT</a:t>
            </a:r>
            <a:r>
              <a:rPr lang="sv-SE" sz="1400" i="1" dirty="0">
                <a:solidFill>
                  <a:srgbClr val="000000"/>
                </a:solidFill>
                <a:latin typeface="Segoe UI" panose="020B0502040204020203" pitchFamily="34" charset="0"/>
              </a:rPr>
              <a:t>. Trots att det är ett mycket bra program så är det en försvinnande liten del som har motivationen att arbeta sig igenom behandlingen. Trots att de också har fysiska besök på </a:t>
            </a:r>
            <a:r>
              <a:rPr lang="sv-SE" sz="1400" i="1" dirty="0" err="1">
                <a:solidFill>
                  <a:srgbClr val="000000"/>
                </a:solidFill>
                <a:latin typeface="Segoe UI" panose="020B0502040204020203" pitchFamily="34" charset="0"/>
              </a:rPr>
              <a:t>vc</a:t>
            </a:r>
            <a:r>
              <a:rPr lang="sv-SE" sz="1400" i="1" dirty="0">
                <a:solidFill>
                  <a:srgbClr val="000000"/>
                </a:solidFill>
                <a:latin typeface="Segoe UI" panose="020B0502040204020203" pitchFamily="34" charset="0"/>
              </a:rPr>
              <a:t>.</a:t>
            </a:r>
          </a:p>
        </p:txBody>
      </p:sp>
    </p:spTree>
    <p:extLst>
      <p:ext uri="{BB962C8B-B14F-4D97-AF65-F5344CB8AC3E}">
        <p14:creationId xmlns:p14="http://schemas.microsoft.com/office/powerpoint/2010/main" val="24141738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896C9376-4CF5-52E6-8653-EF1D549C0884}"/>
              </a:ext>
            </a:extLst>
          </p:cNvPr>
          <p:cNvSpPr>
            <a:spLocks noGrp="1"/>
          </p:cNvSpPr>
          <p:nvPr>
            <p:ph type="title"/>
          </p:nvPr>
        </p:nvSpPr>
        <p:spPr>
          <a:xfrm>
            <a:off x="874296" y="84221"/>
            <a:ext cx="10567736" cy="1149264"/>
          </a:xfrm>
        </p:spPr>
        <p:txBody>
          <a:bodyPr/>
          <a:lstStyle/>
          <a:p>
            <a:r>
              <a:rPr lang="en-US" dirty="0"/>
              <a:t>NKI – </a:t>
            </a:r>
            <a:r>
              <a:rPr lang="en-US" dirty="0" err="1"/>
              <a:t>Nöjd</a:t>
            </a:r>
            <a:r>
              <a:rPr lang="en-US" dirty="0"/>
              <a:t> </a:t>
            </a:r>
            <a:r>
              <a:rPr lang="en-US" dirty="0" err="1"/>
              <a:t>kund</a:t>
            </a:r>
            <a:r>
              <a:rPr lang="en-US" dirty="0"/>
              <a:t> index 2022</a:t>
            </a:r>
          </a:p>
        </p:txBody>
      </p:sp>
      <p:sp>
        <p:nvSpPr>
          <p:cNvPr id="21" name="Content Placeholder 2">
            <a:extLst>
              <a:ext uri="{FF2B5EF4-FFF2-40B4-BE49-F238E27FC236}">
                <a16:creationId xmlns:a16="http://schemas.microsoft.com/office/drawing/2014/main" id="{8453AA3C-E61A-BAB7-D3A6-83BBFCF7B233}"/>
              </a:ext>
            </a:extLst>
          </p:cNvPr>
          <p:cNvSpPr>
            <a:spLocks noGrp="1"/>
          </p:cNvSpPr>
          <p:nvPr>
            <p:ph idx="1"/>
          </p:nvPr>
        </p:nvSpPr>
        <p:spPr>
          <a:xfrm>
            <a:off x="922424" y="1693273"/>
            <a:ext cx="5919810" cy="3564527"/>
          </a:xfrm>
        </p:spPr>
        <p:txBody>
          <a:bodyPr/>
          <a:lstStyle/>
          <a:p>
            <a:r>
              <a:rPr lang="sv-SE" dirty="0"/>
              <a:t>Kort information som själva undersökningen </a:t>
            </a:r>
          </a:p>
          <a:p>
            <a:r>
              <a:rPr lang="sv-SE" dirty="0"/>
              <a:t>Invånare: Hur ser vår NKI ut? </a:t>
            </a:r>
          </a:p>
          <a:p>
            <a:pPr lvl="1"/>
            <a:r>
              <a:rPr lang="sv-SE" dirty="0"/>
              <a:t>Vad säger statistiken oss?</a:t>
            </a:r>
          </a:p>
          <a:p>
            <a:pPr lvl="1"/>
            <a:r>
              <a:rPr lang="sv-SE" dirty="0"/>
              <a:t>Vad tar den nationella förvaltningen med sig av fritextsvaren?</a:t>
            </a:r>
          </a:p>
          <a:p>
            <a:pPr lvl="1"/>
            <a:r>
              <a:rPr lang="sv-SE" dirty="0"/>
              <a:t>Vad har den nationella förvaltningen uppmärksammat i fritextsvaren för er i regionerna? </a:t>
            </a:r>
          </a:p>
          <a:p>
            <a:r>
              <a:rPr lang="sv-SE" dirty="0"/>
              <a:t>Personal: Hur ser vår NKI ut? </a:t>
            </a:r>
          </a:p>
          <a:p>
            <a:pPr lvl="1"/>
            <a:r>
              <a:rPr lang="sv-SE" dirty="0"/>
              <a:t>Vad säger statistiken oss?</a:t>
            </a:r>
          </a:p>
          <a:p>
            <a:pPr lvl="1"/>
            <a:r>
              <a:rPr lang="sv-SE" dirty="0"/>
              <a:t>Vad tar den nationella förvaltningen med sig av fritextsvaren?</a:t>
            </a:r>
          </a:p>
          <a:p>
            <a:pPr lvl="1"/>
            <a:r>
              <a:rPr lang="sv-SE" dirty="0"/>
              <a:t>Vad har den nationella förvaltningen uppmärksammat i fritextsvaren för er i regionerna? </a:t>
            </a:r>
          </a:p>
          <a:p>
            <a:r>
              <a:rPr lang="sv-SE" dirty="0"/>
              <a:t>Hur kan ni i regionerna nå informationen? </a:t>
            </a:r>
          </a:p>
          <a:p>
            <a:endParaRPr lang="sv-SE" dirty="0"/>
          </a:p>
        </p:txBody>
      </p:sp>
      <p:sp>
        <p:nvSpPr>
          <p:cNvPr id="23" name="Footer Placeholder 3">
            <a:extLst>
              <a:ext uri="{FF2B5EF4-FFF2-40B4-BE49-F238E27FC236}">
                <a16:creationId xmlns:a16="http://schemas.microsoft.com/office/drawing/2014/main" id="{C6AC8B81-88C3-0C8B-45A4-63F16E427487}"/>
              </a:ext>
            </a:extLst>
          </p:cNvPr>
          <p:cNvSpPr>
            <a:spLocks noGrp="1"/>
          </p:cNvSpPr>
          <p:nvPr>
            <p:ph type="ftr" sz="quarter" idx="11"/>
          </p:nvPr>
        </p:nvSpPr>
        <p:spPr>
          <a:xfrm>
            <a:off x="711722" y="6311973"/>
            <a:ext cx="4114800" cy="365125"/>
          </a:xfrm>
        </p:spPr>
        <p:txBody>
          <a:bodyPr/>
          <a:lstStyle/>
          <a:p>
            <a:endParaRPr lang="sv-SE"/>
          </a:p>
        </p:txBody>
      </p:sp>
      <p:sp>
        <p:nvSpPr>
          <p:cNvPr id="25" name="Slide Number Placeholder 4">
            <a:extLst>
              <a:ext uri="{FF2B5EF4-FFF2-40B4-BE49-F238E27FC236}">
                <a16:creationId xmlns:a16="http://schemas.microsoft.com/office/drawing/2014/main" id="{4442BC38-1C2C-2104-448E-537FF9743B9E}"/>
              </a:ext>
            </a:extLst>
          </p:cNvPr>
          <p:cNvSpPr>
            <a:spLocks noGrp="1"/>
          </p:cNvSpPr>
          <p:nvPr>
            <p:ph type="sldNum" sz="quarter" idx="12"/>
          </p:nvPr>
        </p:nvSpPr>
        <p:spPr>
          <a:xfrm>
            <a:off x="276721" y="6311994"/>
            <a:ext cx="390055" cy="365125"/>
          </a:xfrm>
        </p:spPr>
        <p:txBody>
          <a:bodyPr/>
          <a:lstStyle/>
          <a:p>
            <a:pPr>
              <a:spcAft>
                <a:spcPts val="600"/>
              </a:spcAft>
            </a:pPr>
            <a:fld id="{7FF155A8-5C6D-4241-95DF-81E4F2B16EE5}" type="slidenum">
              <a:rPr lang="sv-SE" smtClean="0"/>
              <a:pPr>
                <a:spcAft>
                  <a:spcPts val="600"/>
                </a:spcAft>
              </a:pPr>
              <a:t>5</a:t>
            </a:fld>
            <a:endParaRPr lang="sv-SE"/>
          </a:p>
        </p:txBody>
      </p:sp>
      <p:pic>
        <p:nvPicPr>
          <p:cNvPr id="13" name="Bildobjekt 12" descr="En bild som visar pil&#10;&#10;Automatiskt genererad beskrivning">
            <a:extLst>
              <a:ext uri="{FF2B5EF4-FFF2-40B4-BE49-F238E27FC236}">
                <a16:creationId xmlns:a16="http://schemas.microsoft.com/office/drawing/2014/main" id="{34901AE3-FAB8-4AB1-9171-C9D321155D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01632" y="1140782"/>
            <a:ext cx="3861292" cy="3922582"/>
          </a:xfrm>
          <a:prstGeom prst="rect">
            <a:avLst/>
          </a:prstGeom>
        </p:spPr>
      </p:pic>
    </p:spTree>
    <p:extLst>
      <p:ext uri="{BB962C8B-B14F-4D97-AF65-F5344CB8AC3E}">
        <p14:creationId xmlns:p14="http://schemas.microsoft.com/office/powerpoint/2010/main" val="3667638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D18AFE-40BE-49A3-8893-1B5E237FAA4C}"/>
              </a:ext>
            </a:extLst>
          </p:cNvPr>
          <p:cNvSpPr>
            <a:spLocks noGrp="1"/>
          </p:cNvSpPr>
          <p:nvPr>
            <p:ph type="title"/>
          </p:nvPr>
        </p:nvSpPr>
        <p:spPr/>
        <p:txBody>
          <a:bodyPr/>
          <a:lstStyle/>
          <a:p>
            <a:r>
              <a:rPr lang="sv-SE" dirty="0"/>
              <a:t>Webbläsare</a:t>
            </a:r>
          </a:p>
        </p:txBody>
      </p:sp>
      <p:sp>
        <p:nvSpPr>
          <p:cNvPr id="3" name="Platshållare för innehåll 2">
            <a:extLst>
              <a:ext uri="{FF2B5EF4-FFF2-40B4-BE49-F238E27FC236}">
                <a16:creationId xmlns:a16="http://schemas.microsoft.com/office/drawing/2014/main" id="{1DDE54B4-4273-4453-8201-74A65F54EF30}"/>
              </a:ext>
            </a:extLst>
          </p:cNvPr>
          <p:cNvSpPr>
            <a:spLocks noGrp="1"/>
          </p:cNvSpPr>
          <p:nvPr>
            <p:ph idx="1"/>
          </p:nvPr>
        </p:nvSpPr>
        <p:spPr/>
        <p:txBody>
          <a:bodyPr/>
          <a:lstStyle/>
          <a:p>
            <a:r>
              <a:rPr lang="sv-SE" dirty="0"/>
              <a:t>En del saker verkar ligga kvar trots att de hanterats.</a:t>
            </a:r>
          </a:p>
          <a:p>
            <a:pPr marL="685800" lvl="2">
              <a:spcBef>
                <a:spcPts val="1000"/>
              </a:spcBef>
              <a:buFont typeface="Arial" panose="020B0604020202020204" pitchFamily="34" charset="0"/>
              <a:buChar char="•"/>
            </a:pPr>
            <a:r>
              <a:rPr lang="sv-SE" sz="1800" dirty="0"/>
              <a:t>Exempelvis Flaggor ligger kvar till utloggning eller vid utloggning behöver man stänga ner webbläsaren helt för att kunna logga in igen.</a:t>
            </a:r>
          </a:p>
          <a:p>
            <a:endParaRPr lang="sv-SE" dirty="0"/>
          </a:p>
          <a:p>
            <a:r>
              <a:rPr lang="sv-SE" dirty="0"/>
              <a:t>Vi vet att vid en del av sådana eller liknande fall har felet varit en webbläsare med för hårda cache-regler. Om problem som det ovannämnde eller liknande uppstår är det bra om ni inom regionen undersöker webbläsarens beteende innan ni kontaktar nationell support. Detta för att förkorta handläggningstiden för slutanvändarna. </a:t>
            </a:r>
          </a:p>
          <a:p>
            <a:endParaRPr lang="sv-SE" dirty="0"/>
          </a:p>
        </p:txBody>
      </p:sp>
      <p:sp>
        <p:nvSpPr>
          <p:cNvPr id="4" name="Platshållare för sidfot 3">
            <a:extLst>
              <a:ext uri="{FF2B5EF4-FFF2-40B4-BE49-F238E27FC236}">
                <a16:creationId xmlns:a16="http://schemas.microsoft.com/office/drawing/2014/main" id="{72170F48-27E1-4618-AF19-E612DA0B50B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78D2ABC6-5172-41C2-AFFB-ABE78C62108A}"/>
              </a:ext>
            </a:extLst>
          </p:cNvPr>
          <p:cNvSpPr>
            <a:spLocks noGrp="1"/>
          </p:cNvSpPr>
          <p:nvPr>
            <p:ph type="sldNum" sz="quarter" idx="12"/>
          </p:nvPr>
        </p:nvSpPr>
        <p:spPr/>
        <p:txBody>
          <a:bodyPr/>
          <a:lstStyle/>
          <a:p>
            <a:fld id="{7FF155A8-5C6D-4241-95DF-81E4F2B16EE5}" type="slidenum">
              <a:rPr lang="sv-SE" smtClean="0"/>
              <a:t>50</a:t>
            </a:fld>
            <a:endParaRPr lang="sv-SE"/>
          </a:p>
        </p:txBody>
      </p:sp>
      <p:pic>
        <p:nvPicPr>
          <p:cNvPr id="8" name="Bildobjekt 7">
            <a:extLst>
              <a:ext uri="{FF2B5EF4-FFF2-40B4-BE49-F238E27FC236}">
                <a16:creationId xmlns:a16="http://schemas.microsoft.com/office/drawing/2014/main" id="{66F283F6-1825-422E-BA4C-9689BC5E5C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7512868" y="1413850"/>
            <a:ext cx="6092982" cy="3265283"/>
          </a:xfrm>
          <a:prstGeom prst="rect">
            <a:avLst/>
          </a:prstGeom>
        </p:spPr>
      </p:pic>
    </p:spTree>
    <p:extLst>
      <p:ext uri="{BB962C8B-B14F-4D97-AF65-F5344CB8AC3E}">
        <p14:creationId xmlns:p14="http://schemas.microsoft.com/office/powerpoint/2010/main" val="914211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EBED82-B49D-4757-A92A-2BFD24C9BAC0}"/>
              </a:ext>
            </a:extLst>
          </p:cNvPr>
          <p:cNvSpPr>
            <a:spLocks noGrp="1"/>
          </p:cNvSpPr>
          <p:nvPr>
            <p:ph type="title"/>
          </p:nvPr>
        </p:nvSpPr>
        <p:spPr/>
        <p:txBody>
          <a:bodyPr/>
          <a:lstStyle/>
          <a:p>
            <a:r>
              <a:rPr lang="sv-SE" dirty="0"/>
              <a:t>Utbildningsbehov </a:t>
            </a:r>
          </a:p>
        </p:txBody>
      </p:sp>
      <p:sp>
        <p:nvSpPr>
          <p:cNvPr id="3" name="Platshållare för innehåll 2">
            <a:extLst>
              <a:ext uri="{FF2B5EF4-FFF2-40B4-BE49-F238E27FC236}">
                <a16:creationId xmlns:a16="http://schemas.microsoft.com/office/drawing/2014/main" id="{99747F48-91FD-4861-9FA3-B12A86D11A1D}"/>
              </a:ext>
            </a:extLst>
          </p:cNvPr>
          <p:cNvSpPr>
            <a:spLocks noGrp="1"/>
          </p:cNvSpPr>
          <p:nvPr>
            <p:ph idx="1"/>
          </p:nvPr>
        </p:nvSpPr>
        <p:spPr>
          <a:xfrm>
            <a:off x="922423" y="1693273"/>
            <a:ext cx="10847082" cy="3564527"/>
          </a:xfrm>
        </p:spPr>
        <p:txBody>
          <a:bodyPr/>
          <a:lstStyle/>
          <a:p>
            <a:r>
              <a:rPr lang="sv-SE" dirty="0"/>
              <a:t>Personal efterfrågar fler utbildningar, dels grundutbildningar men även kontinuerligt så man kan lära sig nytt alternativt inte glömmer det man lärt sig på utbildningen eftersom man inte använder alla funktioner hela tiden.</a:t>
            </a:r>
          </a:p>
          <a:p>
            <a:r>
              <a:rPr lang="sv-SE" dirty="0"/>
              <a:t>Personal efterfrågade funktioner som redan finns, här måste de informeras om att detta redan finns i Stöd och behandling idag: </a:t>
            </a:r>
          </a:p>
          <a:p>
            <a:pPr marL="457200" lvl="1" indent="0"/>
            <a:r>
              <a:rPr lang="sv-SE" dirty="0"/>
              <a:t> Möjlighet att kunna öppna upp en separat meddelanderuta samtidigt som kollar på exempelvis invånarens svar.</a:t>
            </a:r>
          </a:p>
          <a:p>
            <a:pPr marL="457200" lvl="1" indent="0"/>
            <a:r>
              <a:rPr lang="sv-SE" dirty="0"/>
              <a:t> Hur ser man vilka meddelanden som blivit lästa av invånaren och vilka som ännu är olästa.</a:t>
            </a:r>
          </a:p>
          <a:p>
            <a:pPr marL="457200" lvl="1" indent="0"/>
            <a:r>
              <a:rPr lang="sv-SE" dirty="0"/>
              <a:t> Sorteringsmöjligt, möjlighet att sortera Mina- och Alla listan utefter exempelvis namn, senaste inloggad osv.</a:t>
            </a:r>
          </a:p>
          <a:p>
            <a:pPr marL="457200" lvl="1" indent="0"/>
            <a:r>
              <a:rPr lang="sv-SE" dirty="0"/>
              <a:t> Vet inte hur man ser innehållet i invånarens moment, tror avsnitt och steg enbart är rubriker. </a:t>
            </a:r>
          </a:p>
          <a:p>
            <a:pPr marL="0" indent="0" rtl="0" eaLnBrk="1" latinLnBrk="0" hangingPunct="1"/>
            <a:r>
              <a:rPr lang="sv-SE" dirty="0"/>
              <a:t> Uppsamlade aviseringar</a:t>
            </a:r>
          </a:p>
          <a:p>
            <a:pPr marL="457200" lvl="1" indent="0"/>
            <a:r>
              <a:rPr lang="sv-SE" dirty="0"/>
              <a:t> Personal uppgav att de själva eller invånare får aviseringar om händelser i Stöd och behandling, när de loggar in hittar de inga nya händelser. Vår gissning är att det handlar om uppsamlade aviseringar. Här bör det undersökas vilka moment som använder sig av uppsamlade aviseringar och sedan informera användarna vad det innebär. Till exempel även om användaren läst ett meddelande så kommer det skickas en uppsamlade avisering om det ifall den inställningen är gjord. </a:t>
            </a:r>
          </a:p>
          <a:p>
            <a:pPr marL="457200" lvl="1" indent="0"/>
            <a:endParaRPr lang="sv-SE" dirty="0"/>
          </a:p>
          <a:p>
            <a:pPr marL="0" indent="0" rtl="0" eaLnBrk="1" latinLnBrk="0" hangingPunct="1">
              <a:buNone/>
            </a:pPr>
            <a:endParaRPr lang="sv-SE" dirty="0"/>
          </a:p>
        </p:txBody>
      </p:sp>
      <p:sp>
        <p:nvSpPr>
          <p:cNvPr id="4" name="Platshållare för sidfot 3">
            <a:extLst>
              <a:ext uri="{FF2B5EF4-FFF2-40B4-BE49-F238E27FC236}">
                <a16:creationId xmlns:a16="http://schemas.microsoft.com/office/drawing/2014/main" id="{7968E1CD-ED18-4DB8-AE99-56A65E8A040D}"/>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FE5F398B-16B2-42F9-8CDE-155D857E3A9E}"/>
              </a:ext>
            </a:extLst>
          </p:cNvPr>
          <p:cNvSpPr>
            <a:spLocks noGrp="1"/>
          </p:cNvSpPr>
          <p:nvPr>
            <p:ph type="sldNum" sz="quarter" idx="12"/>
          </p:nvPr>
        </p:nvSpPr>
        <p:spPr/>
        <p:txBody>
          <a:bodyPr/>
          <a:lstStyle/>
          <a:p>
            <a:fld id="{7FF155A8-5C6D-4241-95DF-81E4F2B16EE5}" type="slidenum">
              <a:rPr lang="sv-SE" smtClean="0"/>
              <a:t>51</a:t>
            </a:fld>
            <a:endParaRPr lang="sv-SE"/>
          </a:p>
        </p:txBody>
      </p:sp>
    </p:spTree>
    <p:extLst>
      <p:ext uri="{BB962C8B-B14F-4D97-AF65-F5344CB8AC3E}">
        <p14:creationId xmlns:p14="http://schemas.microsoft.com/office/powerpoint/2010/main" val="239543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DC7B6A3C-609C-4146-9475-38523A2BB823}"/>
              </a:ext>
            </a:extLst>
          </p:cNvPr>
          <p:cNvPicPr>
            <a:picLocks noChangeAspect="1"/>
          </p:cNvPicPr>
          <p:nvPr/>
        </p:nvPicPr>
        <p:blipFill rotWithShape="1">
          <a:blip r:embed="rId2">
            <a:extLst>
              <a:ext uri="{28A0092B-C50C-407E-A947-70E740481C1C}">
                <a14:useLocalDpi xmlns:a14="http://schemas.microsoft.com/office/drawing/2010/main" val="0"/>
              </a:ext>
            </a:extLst>
          </a:blip>
          <a:srcRect b="1974"/>
          <a:stretch/>
        </p:blipFill>
        <p:spPr>
          <a:xfrm>
            <a:off x="391472" y="1615355"/>
            <a:ext cx="3675033" cy="4495735"/>
          </a:xfrm>
          <a:prstGeom prst="rect">
            <a:avLst/>
          </a:prstGeom>
        </p:spPr>
      </p:pic>
      <p:sp>
        <p:nvSpPr>
          <p:cNvPr id="2" name="Rubrik 1">
            <a:extLst>
              <a:ext uri="{FF2B5EF4-FFF2-40B4-BE49-F238E27FC236}">
                <a16:creationId xmlns:a16="http://schemas.microsoft.com/office/drawing/2014/main" id="{C3B537DE-CAAB-416E-A6FF-51B897B96CFC}"/>
              </a:ext>
            </a:extLst>
          </p:cNvPr>
          <p:cNvSpPr>
            <a:spLocks noGrp="1"/>
          </p:cNvSpPr>
          <p:nvPr>
            <p:ph type="title"/>
          </p:nvPr>
        </p:nvSpPr>
        <p:spPr/>
        <p:txBody>
          <a:bodyPr/>
          <a:lstStyle/>
          <a:p>
            <a:r>
              <a:rPr lang="sv-SE" dirty="0"/>
              <a:t>Positiva ord har också inkommit ….</a:t>
            </a:r>
          </a:p>
        </p:txBody>
      </p:sp>
      <p:sp>
        <p:nvSpPr>
          <p:cNvPr id="4" name="Platshållare för sidfot 3">
            <a:extLst>
              <a:ext uri="{FF2B5EF4-FFF2-40B4-BE49-F238E27FC236}">
                <a16:creationId xmlns:a16="http://schemas.microsoft.com/office/drawing/2014/main" id="{EC483051-2901-4967-9E52-7864C754A55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A8A55572-4AC5-423A-BEE4-06F9D5E2F664}"/>
              </a:ext>
            </a:extLst>
          </p:cNvPr>
          <p:cNvSpPr>
            <a:spLocks noGrp="1"/>
          </p:cNvSpPr>
          <p:nvPr>
            <p:ph type="sldNum" sz="quarter" idx="12"/>
          </p:nvPr>
        </p:nvSpPr>
        <p:spPr/>
        <p:txBody>
          <a:bodyPr/>
          <a:lstStyle/>
          <a:p>
            <a:fld id="{D1B389D8-6223-4B1D-82AB-19C377706A8C}" type="slidenum">
              <a:rPr lang="sv-SE" smtClean="0"/>
              <a:t>52</a:t>
            </a:fld>
            <a:endParaRPr lang="sv-SE"/>
          </a:p>
        </p:txBody>
      </p:sp>
      <p:sp>
        <p:nvSpPr>
          <p:cNvPr id="6" name="Pratbubbla: rektangel med rundade hörn 5">
            <a:extLst>
              <a:ext uri="{FF2B5EF4-FFF2-40B4-BE49-F238E27FC236}">
                <a16:creationId xmlns:a16="http://schemas.microsoft.com/office/drawing/2014/main" id="{E8BCB7E0-7625-4517-A94E-0DB5D4B78BA2}"/>
              </a:ext>
            </a:extLst>
          </p:cNvPr>
          <p:cNvSpPr/>
          <p:nvPr/>
        </p:nvSpPr>
        <p:spPr>
          <a:xfrm>
            <a:off x="5125547" y="3404903"/>
            <a:ext cx="6480996" cy="2459479"/>
          </a:xfrm>
          <a:prstGeom prst="wedgeRoundRectCallout">
            <a:avLst>
              <a:gd name="adj1" fmla="val -72086"/>
              <a:gd name="adj2" fmla="val -16837"/>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Minska ner textmassan främst i första modulen så slipper det bli som en jättehög tröskel när användarna nu oftast står inför något helt nytt. Kanske överlag också korta ner de olika programmen och omarbeta så användarna kommer snabbare till förändringsarbete. </a:t>
            </a:r>
          </a:p>
          <a:p>
            <a:endParaRPr lang="sv-SE" sz="1400" i="1" dirty="0">
              <a:solidFill>
                <a:srgbClr val="000000"/>
              </a:solidFill>
              <a:latin typeface="Segoe UI" panose="020B0502040204020203" pitchFamily="34" charset="0"/>
            </a:endParaRPr>
          </a:p>
          <a:p>
            <a:r>
              <a:rPr lang="sv-SE" sz="1400" i="1" dirty="0">
                <a:solidFill>
                  <a:srgbClr val="000000"/>
                </a:solidFill>
                <a:latin typeface="Segoe UI" panose="020B0502040204020203" pitchFamily="34" charset="0"/>
              </a:rPr>
              <a:t>Personligen uppskattar jag verkligen arbetet med patienter i </a:t>
            </a:r>
            <a:r>
              <a:rPr lang="sv-SE" sz="1400" i="1" dirty="0" err="1">
                <a:solidFill>
                  <a:srgbClr val="000000"/>
                </a:solidFill>
                <a:latin typeface="Segoe UI" panose="020B0502040204020203" pitchFamily="34" charset="0"/>
              </a:rPr>
              <a:t>iKBT</a:t>
            </a:r>
            <a:r>
              <a:rPr lang="sv-SE" sz="1400" i="1" dirty="0">
                <a:solidFill>
                  <a:srgbClr val="000000"/>
                </a:solidFill>
                <a:latin typeface="Segoe UI" panose="020B0502040204020203" pitchFamily="34" charset="0"/>
              </a:rPr>
              <a:t>, både för att jag får en bättre förståelse för deras problematik än de som "bara" kommer på fysiska besök, som ett inifrånperspektiv:) och dessutom blir det effektivare både för patienterna som GÖR det och tidsbesparande för mig som behandlare!</a:t>
            </a:r>
          </a:p>
          <a:p>
            <a:endParaRPr lang="sv-SE" sz="1400" i="1" dirty="0">
              <a:solidFill>
                <a:srgbClr val="000000"/>
              </a:solidFill>
              <a:latin typeface="Segoe UI" panose="020B0502040204020203" pitchFamily="34" charset="0"/>
            </a:endParaRPr>
          </a:p>
        </p:txBody>
      </p:sp>
      <p:sp>
        <p:nvSpPr>
          <p:cNvPr id="7" name="Pratbubbla: rektangel med rundade hörn 6">
            <a:extLst>
              <a:ext uri="{FF2B5EF4-FFF2-40B4-BE49-F238E27FC236}">
                <a16:creationId xmlns:a16="http://schemas.microsoft.com/office/drawing/2014/main" id="{24CB6A88-E3BC-41D4-B46A-F4A327A34CA2}"/>
              </a:ext>
            </a:extLst>
          </p:cNvPr>
          <p:cNvSpPr/>
          <p:nvPr/>
        </p:nvSpPr>
        <p:spPr>
          <a:xfrm>
            <a:off x="5125547" y="1387394"/>
            <a:ext cx="6480996" cy="1666619"/>
          </a:xfrm>
          <a:prstGeom prst="wedgeRoundRectCallout">
            <a:avLst>
              <a:gd name="adj1" fmla="val -66637"/>
              <a:gd name="adj2" fmla="val 49221"/>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400" i="1" dirty="0">
                <a:solidFill>
                  <a:srgbClr val="000000"/>
                </a:solidFill>
                <a:latin typeface="Segoe UI" panose="020B0502040204020203" pitchFamily="34" charset="0"/>
              </a:rPr>
              <a:t>Det som är bra med SOB är att vi har ett system där det är möjligt att ge vård i digital, asynkron form. Vilket lyft jämfört med tidigare! </a:t>
            </a:r>
            <a:r>
              <a:rPr lang="sv-SE" sz="1400" i="1" dirty="0" err="1">
                <a:solidFill>
                  <a:srgbClr val="000000"/>
                </a:solidFill>
                <a:latin typeface="Segoe UI" panose="020B0502040204020203" pitchFamily="34" charset="0"/>
              </a:rPr>
              <a:t>Meddelandesystenmet</a:t>
            </a:r>
            <a:r>
              <a:rPr lang="sv-SE" sz="1400" i="1" dirty="0">
                <a:solidFill>
                  <a:srgbClr val="000000"/>
                </a:solidFill>
                <a:latin typeface="Segoe UI" panose="020B0502040204020203" pitchFamily="34" charset="0"/>
              </a:rPr>
              <a:t> är också mycket mer stabilt nu, sällan meddelanden man håller på att skriva försvinner numera. Rätt överskådligt och tydligt också, de olika vyerna.</a:t>
            </a:r>
          </a:p>
        </p:txBody>
      </p:sp>
    </p:spTree>
    <p:extLst>
      <p:ext uri="{BB962C8B-B14F-4D97-AF65-F5344CB8AC3E}">
        <p14:creationId xmlns:p14="http://schemas.microsoft.com/office/powerpoint/2010/main" val="26650149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42023AC-2101-4C61-81FD-27CD19A14AF1}"/>
              </a:ext>
            </a:extLst>
          </p:cNvPr>
          <p:cNvSpPr>
            <a:spLocks noGrp="1"/>
          </p:cNvSpPr>
          <p:nvPr>
            <p:ph type="title"/>
          </p:nvPr>
        </p:nvSpPr>
        <p:spPr/>
        <p:txBody>
          <a:bodyPr/>
          <a:lstStyle/>
          <a:p>
            <a:r>
              <a:rPr lang="sv-SE" dirty="0"/>
              <a:t>Sammanfattning </a:t>
            </a:r>
          </a:p>
        </p:txBody>
      </p:sp>
      <p:sp>
        <p:nvSpPr>
          <p:cNvPr id="3" name="Platshållare för innehåll 2">
            <a:extLst>
              <a:ext uri="{FF2B5EF4-FFF2-40B4-BE49-F238E27FC236}">
                <a16:creationId xmlns:a16="http://schemas.microsoft.com/office/drawing/2014/main" id="{8492D255-E2DF-466A-921E-A3DF454A1CB8}"/>
              </a:ext>
            </a:extLst>
          </p:cNvPr>
          <p:cNvSpPr>
            <a:spLocks noGrp="1"/>
          </p:cNvSpPr>
          <p:nvPr>
            <p:ph idx="1"/>
          </p:nvPr>
        </p:nvSpPr>
        <p:spPr>
          <a:xfrm>
            <a:off x="802105" y="1376402"/>
            <a:ext cx="4880847" cy="3564527"/>
          </a:xfrm>
        </p:spPr>
        <p:txBody>
          <a:bodyPr/>
          <a:lstStyle/>
          <a:p>
            <a:pPr marL="0" indent="0">
              <a:buNone/>
            </a:pPr>
            <a:r>
              <a:rPr lang="sv-SE" b="1" dirty="0"/>
              <a:t>Invånare till nationella förvaltningen</a:t>
            </a:r>
          </a:p>
          <a:p>
            <a:r>
              <a:rPr lang="sv-SE" dirty="0"/>
              <a:t>Meddelandefunktionen</a:t>
            </a:r>
          </a:p>
          <a:p>
            <a:r>
              <a:rPr lang="sv-SE" dirty="0"/>
              <a:t>Navigera i moment </a:t>
            </a:r>
          </a:p>
          <a:p>
            <a:r>
              <a:rPr lang="sv-SE" dirty="0"/>
              <a:t>Små enheter </a:t>
            </a:r>
          </a:p>
          <a:p>
            <a:r>
              <a:rPr lang="sv-SE" dirty="0"/>
              <a:t>Övrigt</a:t>
            </a:r>
          </a:p>
          <a:p>
            <a:endParaRPr lang="sv-SE" dirty="0"/>
          </a:p>
          <a:p>
            <a:pPr marL="0" indent="0">
              <a:buNone/>
            </a:pPr>
            <a:r>
              <a:rPr lang="sv-SE" b="1" dirty="0"/>
              <a:t>Invånare till regionerna</a:t>
            </a:r>
            <a:endParaRPr lang="sv-SE" dirty="0"/>
          </a:p>
          <a:p>
            <a:r>
              <a:rPr lang="sv-SE" sz="1800" b="0" u="none" dirty="0"/>
              <a:t>Hur ska de arbeta i momenten?</a:t>
            </a:r>
          </a:p>
          <a:p>
            <a:r>
              <a:rPr lang="sv-SE" sz="1800" b="0" u="none" baseline="0" dirty="0"/>
              <a:t>Innehåll och språk </a:t>
            </a:r>
          </a:p>
          <a:p>
            <a:r>
              <a:rPr lang="sv-SE" dirty="0"/>
              <a:t>Kommunikationen</a:t>
            </a:r>
            <a:endParaRPr lang="sv-SE" sz="1800" b="0" u="none" baseline="0" dirty="0"/>
          </a:p>
          <a:p>
            <a:r>
              <a:rPr lang="sv-SE" sz="1800" b="0" u="none" baseline="0" dirty="0"/>
              <a:t>Lämpligheten för invånaren att använda Stöd och behandling</a:t>
            </a:r>
          </a:p>
          <a:p>
            <a:r>
              <a:rPr lang="sv-SE" sz="1800" b="0" u="none" baseline="0" dirty="0"/>
              <a:t>Uppsamlade aviseringar</a:t>
            </a:r>
          </a:p>
          <a:p>
            <a:endParaRPr lang="sv-SE" dirty="0"/>
          </a:p>
          <a:p>
            <a:pPr marL="0" indent="0">
              <a:buNone/>
            </a:pPr>
            <a:endParaRPr lang="sv-SE" dirty="0"/>
          </a:p>
        </p:txBody>
      </p:sp>
      <p:sp>
        <p:nvSpPr>
          <p:cNvPr id="4" name="Platshållare för sidfot 3">
            <a:extLst>
              <a:ext uri="{FF2B5EF4-FFF2-40B4-BE49-F238E27FC236}">
                <a16:creationId xmlns:a16="http://schemas.microsoft.com/office/drawing/2014/main" id="{4C593B6B-F0E8-431D-B002-88E8144AE0F7}"/>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6EBAFBA-F413-4D09-A53F-FB8C0900DE23}"/>
              </a:ext>
            </a:extLst>
          </p:cNvPr>
          <p:cNvSpPr>
            <a:spLocks noGrp="1"/>
          </p:cNvSpPr>
          <p:nvPr>
            <p:ph type="sldNum" sz="quarter" idx="12"/>
          </p:nvPr>
        </p:nvSpPr>
        <p:spPr/>
        <p:txBody>
          <a:bodyPr/>
          <a:lstStyle/>
          <a:p>
            <a:fld id="{D1B389D8-6223-4B1D-82AB-19C377706A8C}" type="slidenum">
              <a:rPr lang="sv-SE" smtClean="0"/>
              <a:t>53</a:t>
            </a:fld>
            <a:endParaRPr lang="sv-SE"/>
          </a:p>
        </p:txBody>
      </p:sp>
      <p:sp>
        <p:nvSpPr>
          <p:cNvPr id="7" name="Platshållare för innehåll 2">
            <a:extLst>
              <a:ext uri="{FF2B5EF4-FFF2-40B4-BE49-F238E27FC236}">
                <a16:creationId xmlns:a16="http://schemas.microsoft.com/office/drawing/2014/main" id="{6F60DE83-39B8-4F84-9FFC-0F4A0C417DED}"/>
              </a:ext>
            </a:extLst>
          </p:cNvPr>
          <p:cNvSpPr txBox="1">
            <a:spLocks/>
          </p:cNvSpPr>
          <p:nvPr/>
        </p:nvSpPr>
        <p:spPr>
          <a:xfrm>
            <a:off x="6509050" y="1376401"/>
            <a:ext cx="4880847" cy="3564527"/>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sv-SE" b="1" dirty="0"/>
              <a:t>Personal till nationella förvaltningen</a:t>
            </a:r>
          </a:p>
          <a:p>
            <a:r>
              <a:rPr lang="sv-SE" dirty="0"/>
              <a:t>Gränssnitt</a:t>
            </a:r>
          </a:p>
          <a:p>
            <a:r>
              <a:rPr lang="sv-SE" dirty="0"/>
              <a:t>Journalintegration</a:t>
            </a:r>
          </a:p>
          <a:p>
            <a:r>
              <a:rPr lang="sv-SE" dirty="0"/>
              <a:t>Inloggning för personal</a:t>
            </a:r>
          </a:p>
          <a:p>
            <a:r>
              <a:rPr lang="sv-SE" dirty="0"/>
              <a:t>Meddelande </a:t>
            </a:r>
          </a:p>
          <a:p>
            <a:r>
              <a:rPr lang="sv-SE" dirty="0"/>
              <a:t>Övrigt</a:t>
            </a:r>
          </a:p>
          <a:p>
            <a:endParaRPr lang="sv-SE" dirty="0"/>
          </a:p>
          <a:p>
            <a:pPr marL="0" indent="0">
              <a:buFont typeface="Arial" panose="020B0604020202020204" pitchFamily="34" charset="0"/>
              <a:buNone/>
            </a:pPr>
            <a:r>
              <a:rPr lang="sv-SE" b="1" dirty="0"/>
              <a:t>Invånare till regionerna</a:t>
            </a:r>
            <a:endParaRPr lang="sv-SE" dirty="0"/>
          </a:p>
          <a:p>
            <a:r>
              <a:rPr lang="sv-SE" sz="1800" b="0" u="none" baseline="0" dirty="0"/>
              <a:t>Vilka moment finns?</a:t>
            </a:r>
          </a:p>
          <a:p>
            <a:r>
              <a:rPr lang="sv-SE" dirty="0"/>
              <a:t>Innehållet i momenten</a:t>
            </a:r>
            <a:endParaRPr lang="sv-SE" sz="1800" b="0" u="none" baseline="0" dirty="0"/>
          </a:p>
          <a:p>
            <a:r>
              <a:rPr lang="sv-SE" sz="1800" b="0" u="none" baseline="0" dirty="0"/>
              <a:t>Webbläsare</a:t>
            </a:r>
          </a:p>
          <a:p>
            <a:r>
              <a:rPr lang="sv-SE" sz="1800" b="0" u="none" baseline="0" dirty="0"/>
              <a:t>Utbildningsbehov </a:t>
            </a:r>
          </a:p>
          <a:p>
            <a:pPr marL="0" indent="0">
              <a:buNone/>
            </a:pPr>
            <a:endParaRPr lang="sv-SE" dirty="0"/>
          </a:p>
          <a:p>
            <a:pPr marL="0" indent="0">
              <a:buFont typeface="Arial" panose="020B0604020202020204" pitchFamily="34" charset="0"/>
              <a:buNone/>
            </a:pPr>
            <a:endParaRPr lang="sv-SE" dirty="0"/>
          </a:p>
        </p:txBody>
      </p:sp>
    </p:spTree>
    <p:extLst>
      <p:ext uri="{BB962C8B-B14F-4D97-AF65-F5344CB8AC3E}">
        <p14:creationId xmlns:p14="http://schemas.microsoft.com/office/powerpoint/2010/main" val="28602692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170C61E-7DFB-4699-8D67-0DBBF11F9425}"/>
              </a:ext>
            </a:extLst>
          </p:cNvPr>
          <p:cNvSpPr>
            <a:spLocks noGrp="1"/>
          </p:cNvSpPr>
          <p:nvPr>
            <p:ph type="title"/>
          </p:nvPr>
        </p:nvSpPr>
        <p:spPr/>
        <p:txBody>
          <a:bodyPr/>
          <a:lstStyle/>
          <a:p>
            <a:r>
              <a:rPr lang="sv-SE" dirty="0"/>
              <a:t>Hur kan ni i regionerna nå informationen? </a:t>
            </a:r>
            <a:br>
              <a:rPr lang="sv-SE" dirty="0"/>
            </a:br>
            <a:endParaRPr lang="sv-SE" dirty="0"/>
          </a:p>
        </p:txBody>
      </p:sp>
      <p:sp>
        <p:nvSpPr>
          <p:cNvPr id="3" name="Platshållare för innehåll 2">
            <a:extLst>
              <a:ext uri="{FF2B5EF4-FFF2-40B4-BE49-F238E27FC236}">
                <a16:creationId xmlns:a16="http://schemas.microsoft.com/office/drawing/2014/main" id="{926CB30C-2C96-4A47-BD4D-836F7F459373}"/>
              </a:ext>
            </a:extLst>
          </p:cNvPr>
          <p:cNvSpPr>
            <a:spLocks noGrp="1"/>
          </p:cNvSpPr>
          <p:nvPr>
            <p:ph idx="1"/>
          </p:nvPr>
        </p:nvSpPr>
        <p:spPr/>
        <p:txBody>
          <a:bodyPr/>
          <a:lstStyle/>
          <a:p>
            <a:r>
              <a:rPr lang="sv-SE" dirty="0"/>
              <a:t>Denna presentation och inspelningen av Användarforumet hamnar som vanligt på Förvaltningens informationssida, även kallat Öppna </a:t>
            </a:r>
            <a:r>
              <a:rPr lang="sv-SE" dirty="0" err="1"/>
              <a:t>confluence</a:t>
            </a:r>
            <a:r>
              <a:rPr lang="sv-SE" dirty="0"/>
              <a:t>. </a:t>
            </a:r>
            <a:r>
              <a:rPr lang="sv-SE" dirty="0">
                <a:hlinkClick r:id="rId2"/>
              </a:rPr>
              <a:t>Användarforum 2022 - Öppen info: Stöd och behandling - Confluence (atlassian.net)</a:t>
            </a:r>
            <a:endParaRPr lang="sv-SE" dirty="0"/>
          </a:p>
          <a:p>
            <a:r>
              <a:rPr lang="sv-SE" dirty="0"/>
              <a:t>Om någon region är intresserad av att få ta del av sin regions svar kan ni kontakta oss på </a:t>
            </a:r>
            <a:r>
              <a:rPr lang="sv-SE" dirty="0">
                <a:hlinkClick r:id="rId3"/>
              </a:rPr>
              <a:t>stodochbehandling@1177.se</a:t>
            </a:r>
            <a:r>
              <a:rPr lang="sv-SE" dirty="0"/>
              <a:t> </a:t>
            </a:r>
            <a:endParaRPr lang="sv-SE" sz="1200" dirty="0">
              <a:solidFill>
                <a:schemeClr val="dk1"/>
              </a:solidFill>
            </a:endParaRPr>
          </a:p>
          <a:p>
            <a:pPr lvl="1"/>
            <a:endParaRPr lang="sv-SE" dirty="0"/>
          </a:p>
        </p:txBody>
      </p:sp>
      <p:sp>
        <p:nvSpPr>
          <p:cNvPr id="4" name="Platshållare för sidfot 3">
            <a:extLst>
              <a:ext uri="{FF2B5EF4-FFF2-40B4-BE49-F238E27FC236}">
                <a16:creationId xmlns:a16="http://schemas.microsoft.com/office/drawing/2014/main" id="{B6539D07-CA18-45C6-998A-1F6A0F2C45E7}"/>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C3AA1D8D-75E5-4FCD-A7A5-44A38DFF9405}"/>
              </a:ext>
            </a:extLst>
          </p:cNvPr>
          <p:cNvSpPr>
            <a:spLocks noGrp="1"/>
          </p:cNvSpPr>
          <p:nvPr>
            <p:ph type="sldNum" sz="quarter" idx="12"/>
          </p:nvPr>
        </p:nvSpPr>
        <p:spPr/>
        <p:txBody>
          <a:bodyPr/>
          <a:lstStyle/>
          <a:p>
            <a:fld id="{D1B389D8-6223-4B1D-82AB-19C377706A8C}" type="slidenum">
              <a:rPr lang="sv-SE" smtClean="0"/>
              <a:t>54</a:t>
            </a:fld>
            <a:endParaRPr lang="sv-SE"/>
          </a:p>
        </p:txBody>
      </p:sp>
    </p:spTree>
    <p:extLst>
      <p:ext uri="{BB962C8B-B14F-4D97-AF65-F5344CB8AC3E}">
        <p14:creationId xmlns:p14="http://schemas.microsoft.com/office/powerpoint/2010/main" val="422963072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v användarforum</a:t>
            </a:r>
          </a:p>
          <a:p>
            <a:pPr marL="0" indent="0">
              <a:lnSpc>
                <a:spcPct val="100000"/>
              </a:lnSpc>
              <a:spcBef>
                <a:spcPts val="0"/>
              </a:spcBef>
              <a:spcAft>
                <a:spcPts val="1800"/>
              </a:spcAft>
              <a:buNone/>
            </a:pPr>
            <a:r>
              <a:rPr lang="sv-SE" dirty="0">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55</a:t>
            </a:fld>
            <a:endParaRPr lang="sv-SE"/>
          </a:p>
        </p:txBody>
      </p:sp>
    </p:spTree>
    <p:extLst>
      <p:ext uri="{BB962C8B-B14F-4D97-AF65-F5344CB8AC3E}">
        <p14:creationId xmlns:p14="http://schemas.microsoft.com/office/powerpoint/2010/main" val="4292483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98F9B8F-6C9B-EB05-7404-573F7AF85200}"/>
              </a:ext>
            </a:extLst>
          </p:cNvPr>
          <p:cNvSpPr>
            <a:spLocks noGrp="1"/>
          </p:cNvSpPr>
          <p:nvPr>
            <p:ph type="title"/>
          </p:nvPr>
        </p:nvSpPr>
        <p:spPr/>
        <p:txBody>
          <a:bodyPr/>
          <a:lstStyle/>
          <a:p>
            <a:r>
              <a:rPr lang="sv-SE"/>
              <a:t>Ny medarbetare, en till i nationella teamet - Björn</a:t>
            </a:r>
          </a:p>
        </p:txBody>
      </p:sp>
      <p:sp>
        <p:nvSpPr>
          <p:cNvPr id="3" name="Platshållare för innehåll 2">
            <a:extLst>
              <a:ext uri="{FF2B5EF4-FFF2-40B4-BE49-F238E27FC236}">
                <a16:creationId xmlns:a16="http://schemas.microsoft.com/office/drawing/2014/main" id="{9E10EE92-06FA-42D7-1E5F-EA2D2697115D}"/>
              </a:ext>
            </a:extLst>
          </p:cNvPr>
          <p:cNvSpPr>
            <a:spLocks noGrp="1"/>
          </p:cNvSpPr>
          <p:nvPr>
            <p:ph idx="1"/>
          </p:nvPr>
        </p:nvSpPr>
        <p:spPr>
          <a:xfrm>
            <a:off x="3919196" y="1827655"/>
            <a:ext cx="7680195" cy="3564527"/>
          </a:xfrm>
        </p:spPr>
        <p:txBody>
          <a:bodyPr vert="horz" lIns="0" tIns="0" rIns="0" bIns="0" rtlCol="0" anchor="t">
            <a:noAutofit/>
          </a:bodyPr>
          <a:lstStyle/>
          <a:p>
            <a:pPr marL="0" indent="0">
              <a:buNone/>
            </a:pPr>
            <a:r>
              <a:rPr lang="sv-SE" sz="1600" b="1" dirty="0">
                <a:ea typeface="Open Sans"/>
                <a:cs typeface="Open Sans"/>
              </a:rPr>
              <a:t>Hur ska ni se på mig? </a:t>
            </a:r>
            <a:endParaRPr lang="sv-SE" sz="1600" b="1">
              <a:ea typeface="Open Sans"/>
              <a:cs typeface="Open Sans"/>
            </a:endParaRPr>
          </a:p>
          <a:p>
            <a:pPr marL="0" indent="0">
              <a:buNone/>
            </a:pPr>
            <a:r>
              <a:rPr lang="sv-SE" sz="1600" dirty="0">
                <a:ea typeface="Open Sans"/>
                <a:cs typeface="Open Sans"/>
              </a:rPr>
              <a:t>Coach, partner och kollega.</a:t>
            </a:r>
          </a:p>
          <a:p>
            <a:pPr marL="0" indent="0">
              <a:buNone/>
            </a:pPr>
            <a:r>
              <a:rPr lang="sv-SE" sz="1600" b="1" dirty="0">
                <a:ea typeface="Open Sans"/>
                <a:cs typeface="Open Sans"/>
              </a:rPr>
              <a:t>Vad motiverar mig? </a:t>
            </a:r>
          </a:p>
          <a:p>
            <a:pPr marL="0" indent="0">
              <a:buNone/>
            </a:pPr>
            <a:r>
              <a:rPr lang="sv-SE" sz="1600" dirty="0">
                <a:ea typeface="Open Sans"/>
                <a:cs typeface="Open Sans"/>
              </a:rPr>
              <a:t>Att se andra växa och själv få lära mig av er. Jag vill se </a:t>
            </a:r>
            <a:r>
              <a:rPr lang="sv-SE" sz="1600" u="sng" dirty="0">
                <a:ea typeface="Open Sans"/>
                <a:cs typeface="Open Sans"/>
              </a:rPr>
              <a:t>dig</a:t>
            </a:r>
            <a:r>
              <a:rPr lang="sv-SE" sz="1600" dirty="0">
                <a:ea typeface="Open Sans"/>
                <a:cs typeface="Open Sans"/>
              </a:rPr>
              <a:t> lyckas med </a:t>
            </a:r>
            <a:r>
              <a:rPr lang="sv-SE" sz="1600" u="sng" dirty="0">
                <a:ea typeface="Open Sans"/>
                <a:cs typeface="Open Sans"/>
              </a:rPr>
              <a:t>ditt</a:t>
            </a:r>
            <a:r>
              <a:rPr lang="sv-SE" sz="1600" dirty="0">
                <a:ea typeface="Open Sans"/>
                <a:cs typeface="Open Sans"/>
              </a:rPr>
              <a:t> arbete.</a:t>
            </a:r>
            <a:endParaRPr lang="sv-SE" sz="1600" b="1" dirty="0">
              <a:ea typeface="Open Sans"/>
              <a:cs typeface="Open Sans"/>
            </a:endParaRPr>
          </a:p>
          <a:p>
            <a:pPr marL="0" indent="0">
              <a:buNone/>
            </a:pPr>
            <a:r>
              <a:rPr lang="sv-SE" sz="1600" b="1" dirty="0">
                <a:ea typeface="Open Sans"/>
                <a:cs typeface="Open Sans"/>
              </a:rPr>
              <a:t>Fokus ligger just nu på:</a:t>
            </a:r>
          </a:p>
          <a:p>
            <a:pPr lvl="1"/>
            <a:r>
              <a:rPr lang="sv-SE" sz="1400" dirty="0">
                <a:ea typeface="Open Sans"/>
                <a:cs typeface="Open Sans"/>
              </a:rPr>
              <a:t>Se över behovet av användarstöd och däribland nystarta Designnätverket.</a:t>
            </a:r>
          </a:p>
          <a:p>
            <a:pPr lvl="1"/>
            <a:r>
              <a:rPr lang="sv-SE" sz="1400" dirty="0">
                <a:ea typeface="Open Sans"/>
                <a:cs typeface="Open Sans"/>
              </a:rPr>
              <a:t>Samverkan och dialog.</a:t>
            </a:r>
          </a:p>
          <a:p>
            <a:pPr marL="0" indent="0">
              <a:buNone/>
            </a:pPr>
            <a:r>
              <a:rPr lang="sv-SE" sz="1600" b="1" dirty="0">
                <a:ea typeface="Open Sans"/>
                <a:cs typeface="Open Sans"/>
              </a:rPr>
              <a:t>Det låter otydligt - Vad innebär det närmast?</a:t>
            </a:r>
          </a:p>
          <a:p>
            <a:pPr lvl="1"/>
            <a:r>
              <a:rPr lang="sv-SE" sz="1400" dirty="0">
                <a:ea typeface="Open Sans"/>
                <a:cs typeface="Open Sans"/>
              </a:rPr>
              <a:t>Utskick av undersökning för regionförvaltningarnas och programrådsmedlemmars upplevelse av tjänsten.</a:t>
            </a:r>
          </a:p>
          <a:p>
            <a:pPr lvl="1"/>
            <a:r>
              <a:rPr lang="sv-SE" sz="1400" dirty="0">
                <a:ea typeface="Open Sans"/>
                <a:cs typeface="Open Sans"/>
              </a:rPr>
              <a:t>Förslag för ny struktur för referensgrupp och arbetsgrupper för Stöd och behandling, för tydligare samarbete mellan regioner och </a:t>
            </a:r>
            <a:r>
              <a:rPr lang="sv-SE" sz="1400" dirty="0" err="1">
                <a:ea typeface="Open Sans"/>
                <a:cs typeface="Open Sans"/>
              </a:rPr>
              <a:t>Inera</a:t>
            </a:r>
            <a:r>
              <a:rPr lang="sv-SE" sz="1400" dirty="0">
                <a:ea typeface="Open Sans"/>
                <a:cs typeface="Open Sans"/>
              </a:rPr>
              <a:t>.</a:t>
            </a:r>
          </a:p>
          <a:p>
            <a:pPr lvl="1"/>
            <a:r>
              <a:rPr lang="sv-SE" sz="1400" dirty="0">
                <a:ea typeface="Open Sans"/>
                <a:cs typeface="Open Sans"/>
              </a:rPr>
              <a:t>Nystart för </a:t>
            </a:r>
            <a:r>
              <a:rPr lang="sv-SE" sz="1400" dirty="0" err="1">
                <a:ea typeface="Open Sans"/>
                <a:cs typeface="Open Sans"/>
              </a:rPr>
              <a:t>webbinarium</a:t>
            </a:r>
            <a:r>
              <a:rPr lang="sv-SE" sz="1400" dirty="0">
                <a:ea typeface="Open Sans"/>
                <a:cs typeface="Open Sans"/>
              </a:rPr>
              <a:t> och mentortimme -&gt; Se nästa sida</a:t>
            </a:r>
          </a:p>
          <a:p>
            <a:pPr marL="0" indent="0">
              <a:buNone/>
            </a:pPr>
            <a:endParaRPr lang="sv-SE" sz="1600">
              <a:ea typeface="Open Sans"/>
              <a:cs typeface="Open Sans"/>
            </a:endParaRPr>
          </a:p>
        </p:txBody>
      </p:sp>
      <p:sp>
        <p:nvSpPr>
          <p:cNvPr id="4" name="Platshållare för sidfot 3">
            <a:extLst>
              <a:ext uri="{FF2B5EF4-FFF2-40B4-BE49-F238E27FC236}">
                <a16:creationId xmlns:a16="http://schemas.microsoft.com/office/drawing/2014/main" id="{4A9BA534-80E7-AA49-A12A-CD86317DD1C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B5ECAED0-080B-3A4C-37D3-CF6B02174648}"/>
              </a:ext>
            </a:extLst>
          </p:cNvPr>
          <p:cNvSpPr>
            <a:spLocks noGrp="1"/>
          </p:cNvSpPr>
          <p:nvPr>
            <p:ph type="sldNum" sz="quarter" idx="12"/>
          </p:nvPr>
        </p:nvSpPr>
        <p:spPr/>
        <p:txBody>
          <a:bodyPr/>
          <a:lstStyle/>
          <a:p>
            <a:fld id="{D1B389D8-6223-4B1D-82AB-19C377706A8C}" type="slidenum">
              <a:rPr lang="sv-SE" smtClean="0"/>
              <a:t>56</a:t>
            </a:fld>
            <a:endParaRPr lang="sv-SE"/>
          </a:p>
        </p:txBody>
      </p:sp>
      <p:pic>
        <p:nvPicPr>
          <p:cNvPr id="6" name="Bildobjekt 6">
            <a:extLst>
              <a:ext uri="{FF2B5EF4-FFF2-40B4-BE49-F238E27FC236}">
                <a16:creationId xmlns:a16="http://schemas.microsoft.com/office/drawing/2014/main" id="{047DE29D-C8D2-8E95-6166-7B54DF07FAC4}"/>
              </a:ext>
            </a:extLst>
          </p:cNvPr>
          <p:cNvPicPr>
            <a:picLocks noChangeAspect="1"/>
          </p:cNvPicPr>
          <p:nvPr/>
        </p:nvPicPr>
        <p:blipFill>
          <a:blip r:embed="rId2">
            <a:extLst>
              <a:ext uri="{BEBA8EAE-BF5A-486C-A8C5-ECC9F3942E4B}">
                <a14:imgProps xmlns:a14="http://schemas.microsoft.com/office/drawing/2010/main">
                  <a14:imgLayer r:embed="rId3">
                    <a14:imgEffect>
                      <a14:backgroundRemoval t="6032" b="97778" l="9559" r="96324">
                        <a14:foregroundMark x1="40074" y1="27619" x2="40074" y2="27619"/>
                        <a14:foregroundMark x1="31250" y1="34921" x2="26471" y2="18413"/>
                        <a14:foregroundMark x1="26471" y1="18413" x2="38603" y2="6032"/>
                        <a14:foregroundMark x1="38603" y1="6032" x2="48897" y2="20635"/>
                        <a14:foregroundMark x1="48897" y1="20635" x2="51471" y2="29206"/>
                        <a14:foregroundMark x1="21324" y1="74286" x2="25735" y2="90476"/>
                        <a14:foregroundMark x1="25735" y1="90476" x2="44853" y2="91429"/>
                        <a14:foregroundMark x1="44853" y1="91429" x2="84559" y2="87302"/>
                        <a14:foregroundMark x1="84559" y1="87302" x2="84191" y2="71111"/>
                        <a14:foregroundMark x1="84191" y1="71111" x2="83088" y2="67619"/>
                        <a14:foregroundMark x1="93382" y1="81905" x2="82353" y2="66667"/>
                        <a14:foregroundMark x1="82353" y1="64444" x2="96324" y2="82222"/>
                        <a14:foregroundMark x1="60592" y1="96286" x2="25368" y2="97778"/>
                        <a14:backgroundMark x1="77941" y1="99048" x2="91176" y2="98095"/>
                        <a14:backgroundMark x1="96691" y1="98413" x2="97426" y2="91111"/>
                        <a14:backgroundMark x1="98897" y1="73016" x2="98897" y2="73016"/>
                        <a14:backgroundMark x1="58088" y1="99683" x2="70221" y2="99683"/>
                      </a14:backgroundRemoval>
                    </a14:imgEffect>
                  </a14:imgLayer>
                </a14:imgProps>
              </a:ext>
            </a:extLst>
          </a:blip>
          <a:stretch>
            <a:fillRect/>
          </a:stretch>
        </p:blipFill>
        <p:spPr>
          <a:xfrm>
            <a:off x="475153" y="2377448"/>
            <a:ext cx="3403919" cy="3929626"/>
          </a:xfrm>
          <a:prstGeom prst="rect">
            <a:avLst/>
          </a:prstGeom>
          <a:effectLst>
            <a:softEdge rad="31750"/>
          </a:effectLst>
        </p:spPr>
      </p:pic>
    </p:spTree>
    <p:extLst>
      <p:ext uri="{BB962C8B-B14F-4D97-AF65-F5344CB8AC3E}">
        <p14:creationId xmlns:p14="http://schemas.microsoft.com/office/powerpoint/2010/main" val="25125162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sidfot 3">
            <a:extLst>
              <a:ext uri="{FF2B5EF4-FFF2-40B4-BE49-F238E27FC236}">
                <a16:creationId xmlns:a16="http://schemas.microsoft.com/office/drawing/2014/main" id="{B2C21426-4145-4481-9FF9-4589124127A9}"/>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2C3D724-AFE2-435C-B1CE-D997227B3AA4}"/>
              </a:ext>
            </a:extLst>
          </p:cNvPr>
          <p:cNvSpPr>
            <a:spLocks noGrp="1"/>
          </p:cNvSpPr>
          <p:nvPr>
            <p:ph type="sldNum" sz="quarter" idx="12"/>
          </p:nvPr>
        </p:nvSpPr>
        <p:spPr/>
        <p:txBody>
          <a:bodyPr/>
          <a:lstStyle/>
          <a:p>
            <a:fld id="{D1B389D8-6223-4B1D-82AB-19C377706A8C}" type="slidenum">
              <a:rPr lang="sv-SE" smtClean="0"/>
              <a:t>57</a:t>
            </a:fld>
            <a:endParaRPr lang="sv-SE"/>
          </a:p>
        </p:txBody>
      </p:sp>
      <p:sp>
        <p:nvSpPr>
          <p:cNvPr id="6" name="textruta 5">
            <a:extLst>
              <a:ext uri="{FF2B5EF4-FFF2-40B4-BE49-F238E27FC236}">
                <a16:creationId xmlns:a16="http://schemas.microsoft.com/office/drawing/2014/main" id="{DA535E35-64C2-45C2-BC4B-6B2A9713ADB8}"/>
              </a:ext>
            </a:extLst>
          </p:cNvPr>
          <p:cNvSpPr txBox="1"/>
          <p:nvPr/>
        </p:nvSpPr>
        <p:spPr>
          <a:xfrm>
            <a:off x="551374" y="1540789"/>
            <a:ext cx="5144357" cy="1569660"/>
          </a:xfrm>
          <a:prstGeom prst="rect">
            <a:avLst/>
          </a:prstGeom>
          <a:noFill/>
        </p:spPr>
        <p:txBody>
          <a:bodyPr wrap="none" lIns="91440" tIns="45720" rIns="91440" bIns="45720" rtlCol="0" anchor="ctr" anchorCtr="0">
            <a:spAutoFit/>
          </a:bodyPr>
          <a:lstStyle/>
          <a:p>
            <a:r>
              <a:rPr lang="sv-SE" sz="9600" spc="-800" dirty="0">
                <a:solidFill>
                  <a:srgbClr val="C12143"/>
                </a:solidFill>
                <a:latin typeface="Open Sans ExtraBold"/>
                <a:ea typeface="Open Sans ExtraBold"/>
                <a:cs typeface="Open Sans ExtraBold"/>
              </a:rPr>
              <a:t>S</a:t>
            </a:r>
            <a:r>
              <a:rPr lang="sv-SE" sz="9600" spc="-1100" dirty="0">
                <a:solidFill>
                  <a:srgbClr val="C12143"/>
                </a:solidFill>
                <a:latin typeface="Open Sans ExtraBold"/>
                <a:ea typeface="Open Sans ExtraBold"/>
                <a:cs typeface="Open Sans ExtraBold"/>
              </a:rPr>
              <a:t>OB</a:t>
            </a:r>
            <a:r>
              <a:rPr lang="sv-SE" sz="9600" spc="-600" dirty="0">
                <a:solidFill>
                  <a:srgbClr val="C12143"/>
                </a:solidFill>
                <a:latin typeface="Open Sans ExtraBold"/>
                <a:ea typeface="Open Sans ExtraBold"/>
                <a:cs typeface="Open Sans ExtraBold"/>
              </a:rPr>
              <a:t>CAST</a:t>
            </a:r>
          </a:p>
        </p:txBody>
      </p:sp>
      <p:sp>
        <p:nvSpPr>
          <p:cNvPr id="287" name="textruta 286">
            <a:extLst>
              <a:ext uri="{FF2B5EF4-FFF2-40B4-BE49-F238E27FC236}">
                <a16:creationId xmlns:a16="http://schemas.microsoft.com/office/drawing/2014/main" id="{50469693-808F-44AD-A7E8-CB69A68013AC}"/>
              </a:ext>
            </a:extLst>
          </p:cNvPr>
          <p:cNvSpPr txBox="1"/>
          <p:nvPr/>
        </p:nvSpPr>
        <p:spPr>
          <a:xfrm>
            <a:off x="-565603" y="3151134"/>
            <a:ext cx="7372350" cy="1743988"/>
          </a:xfrm>
          <a:prstGeom prst="rect">
            <a:avLst/>
          </a:prstGeom>
          <a:noFill/>
        </p:spPr>
        <p:txBody>
          <a:bodyPr wrap="none" lIns="0" tIns="0" rIns="0" bIns="0" rtlCol="0" anchor="t">
            <a:noAutofit/>
          </a:bodyPr>
          <a:lstStyle/>
          <a:p>
            <a:pPr algn="ctr"/>
            <a:r>
              <a:rPr lang="sv-SE" dirty="0"/>
              <a:t>Håll koll efter första sändningen i teamskanalerna</a:t>
            </a:r>
          </a:p>
          <a:p>
            <a:pPr algn="ctr"/>
            <a:r>
              <a:rPr lang="sv-SE" dirty="0"/>
              <a:t>Önskemål om fokusområden </a:t>
            </a:r>
            <a:endParaRPr lang="sv-SE" dirty="0">
              <a:ea typeface="Open Sans"/>
              <a:cs typeface="Open Sans"/>
            </a:endParaRPr>
          </a:p>
          <a:p>
            <a:pPr algn="ctr"/>
            <a:r>
              <a:rPr lang="sv-SE" dirty="0"/>
              <a:t>eller vill du själv visa upp något kul? </a:t>
            </a:r>
            <a:endParaRPr lang="sv-SE" dirty="0">
              <a:ea typeface="Open Sans"/>
              <a:cs typeface="Open Sans"/>
            </a:endParaRPr>
          </a:p>
          <a:p>
            <a:pPr algn="ctr"/>
            <a:r>
              <a:rPr lang="sv-SE" dirty="0"/>
              <a:t>Kanske vill diskutera något viktigt? </a:t>
            </a:r>
          </a:p>
          <a:p>
            <a:pPr algn="ctr"/>
            <a:r>
              <a:rPr lang="sv-SE" dirty="0"/>
              <a:t>Skicka förslag till: </a:t>
            </a:r>
            <a:r>
              <a:rPr lang="sv-SE" dirty="0">
                <a:hlinkClick r:id="rId2"/>
              </a:rPr>
              <a:t>Bjorn.olars@inera.se</a:t>
            </a:r>
            <a:r>
              <a:rPr lang="sv-SE" dirty="0"/>
              <a:t> </a:t>
            </a:r>
            <a:endParaRPr lang="sv-SE" dirty="0">
              <a:ea typeface="Open Sans"/>
              <a:cs typeface="Open Sans"/>
            </a:endParaRPr>
          </a:p>
          <a:p>
            <a:pPr algn="ctr"/>
            <a:endParaRPr lang="sv-SE"/>
          </a:p>
          <a:p>
            <a:pPr algn="ctr"/>
            <a:endParaRPr lang="sv-SE"/>
          </a:p>
          <a:p>
            <a:pPr algn="ctr"/>
            <a:endParaRPr lang="sv-SE"/>
          </a:p>
          <a:p>
            <a:pPr algn="ctr"/>
            <a:endParaRPr lang="sv-SE"/>
          </a:p>
        </p:txBody>
      </p:sp>
      <p:pic>
        <p:nvPicPr>
          <p:cNvPr id="2" name="Bildobjekt 2">
            <a:extLst>
              <a:ext uri="{FF2B5EF4-FFF2-40B4-BE49-F238E27FC236}">
                <a16:creationId xmlns:a16="http://schemas.microsoft.com/office/drawing/2014/main" id="{0CE7C0AE-C8B4-43BB-4F0A-218CA1895B66}"/>
              </a:ext>
            </a:extLst>
          </p:cNvPr>
          <p:cNvPicPr>
            <a:picLocks noChangeAspect="1"/>
          </p:cNvPicPr>
          <p:nvPr/>
        </p:nvPicPr>
        <p:blipFill>
          <a:blip r:embed="rId3"/>
          <a:stretch>
            <a:fillRect/>
          </a:stretch>
        </p:blipFill>
        <p:spPr>
          <a:xfrm>
            <a:off x="6239329" y="905454"/>
            <a:ext cx="5491842" cy="2597804"/>
          </a:xfrm>
          <a:prstGeom prst="rect">
            <a:avLst/>
          </a:prstGeom>
        </p:spPr>
      </p:pic>
      <p:sp>
        <p:nvSpPr>
          <p:cNvPr id="7" name="textruta 6">
            <a:extLst>
              <a:ext uri="{FF2B5EF4-FFF2-40B4-BE49-F238E27FC236}">
                <a16:creationId xmlns:a16="http://schemas.microsoft.com/office/drawing/2014/main" id="{E889AAA5-0C45-E36F-F355-3F12C78158B4}"/>
              </a:ext>
            </a:extLst>
          </p:cNvPr>
          <p:cNvSpPr txBox="1"/>
          <p:nvPr/>
        </p:nvSpPr>
        <p:spPr>
          <a:xfrm>
            <a:off x="5185683" y="3151133"/>
            <a:ext cx="7372350" cy="1743988"/>
          </a:xfrm>
          <a:prstGeom prst="rect">
            <a:avLst/>
          </a:prstGeom>
          <a:noFill/>
        </p:spPr>
        <p:txBody>
          <a:bodyPr wrap="none" lIns="0" tIns="0" rIns="0" bIns="0" rtlCol="0" anchor="t">
            <a:noAutofit/>
          </a:bodyPr>
          <a:lstStyle/>
          <a:p>
            <a:pPr algn="ctr"/>
            <a:r>
              <a:rPr lang="sv-SE" dirty="0">
                <a:ea typeface="Open Sans"/>
                <a:cs typeface="Open Sans"/>
              </a:rPr>
              <a:t>Öppet teamsmöte för att </a:t>
            </a:r>
          </a:p>
          <a:p>
            <a:pPr algn="ctr"/>
            <a:r>
              <a:rPr lang="sv-SE" dirty="0">
                <a:ea typeface="Open Sans"/>
                <a:cs typeface="Open Sans"/>
              </a:rPr>
              <a:t>ta upp stora och små ärenden</a:t>
            </a:r>
          </a:p>
          <a:p>
            <a:pPr algn="ctr"/>
            <a:r>
              <a:rPr lang="sv-SE" dirty="0">
                <a:ea typeface="Open Sans"/>
                <a:cs typeface="Open Sans"/>
              </a:rPr>
              <a:t>Stöd, funderingar och samtal.</a:t>
            </a:r>
          </a:p>
          <a:p>
            <a:pPr algn="ctr"/>
            <a:r>
              <a:rPr lang="sv-SE" dirty="0">
                <a:ea typeface="Open Sans"/>
                <a:cs typeface="Open Sans"/>
              </a:rPr>
              <a:t>Inte begränsat till design men tanken är </a:t>
            </a:r>
          </a:p>
          <a:p>
            <a:pPr algn="ctr"/>
            <a:r>
              <a:rPr lang="sv-SE" dirty="0">
                <a:ea typeface="Open Sans"/>
                <a:cs typeface="Open Sans"/>
              </a:rPr>
              <a:t>att bjuda in för samtal runt designerproblem </a:t>
            </a:r>
            <a:endParaRPr lang="sv-SE">
              <a:ea typeface="Open Sans"/>
              <a:cs typeface="Open Sans"/>
            </a:endParaRPr>
          </a:p>
          <a:p>
            <a:pPr algn="ctr"/>
            <a:r>
              <a:rPr lang="sv-SE" dirty="0">
                <a:ea typeface="Open Sans"/>
                <a:cs typeface="Open Sans"/>
              </a:rPr>
              <a:t>för </a:t>
            </a:r>
            <a:r>
              <a:rPr lang="sv-SE" dirty="0" err="1">
                <a:ea typeface="Open Sans"/>
                <a:cs typeface="Open Sans"/>
              </a:rPr>
              <a:t>peer</a:t>
            </a:r>
            <a:r>
              <a:rPr lang="sv-SE" dirty="0">
                <a:ea typeface="Open Sans"/>
                <a:cs typeface="Open Sans"/>
              </a:rPr>
              <a:t>-to-</a:t>
            </a:r>
            <a:r>
              <a:rPr lang="sv-SE" dirty="0" err="1">
                <a:ea typeface="Open Sans"/>
                <a:cs typeface="Open Sans"/>
              </a:rPr>
              <a:t>peer</a:t>
            </a:r>
            <a:r>
              <a:rPr lang="sv-SE" dirty="0">
                <a:ea typeface="Open Sans"/>
                <a:cs typeface="Open Sans"/>
              </a:rPr>
              <a:t> återkoppling</a:t>
            </a:r>
            <a:endParaRPr lang="sv-SE">
              <a:ea typeface="Open Sans"/>
              <a:cs typeface="Open Sans"/>
            </a:endParaRPr>
          </a:p>
          <a:p>
            <a:pPr algn="ctr"/>
            <a:r>
              <a:rPr lang="sv-SE" b="1" dirty="0">
                <a:ea typeface="Open Sans"/>
                <a:cs typeface="Open Sans"/>
              </a:rPr>
              <a:t>(Namntävling i Designernätverkets teamskanal)</a:t>
            </a:r>
          </a:p>
          <a:p>
            <a:pPr algn="ctr"/>
            <a:endParaRPr lang="sv-SE">
              <a:ea typeface="Open Sans"/>
              <a:cs typeface="Open Sans"/>
            </a:endParaRPr>
          </a:p>
          <a:p>
            <a:pPr algn="ctr"/>
            <a:endParaRPr lang="sv-SE">
              <a:ea typeface="Open Sans"/>
              <a:cs typeface="Open Sans"/>
            </a:endParaRPr>
          </a:p>
          <a:p>
            <a:pPr algn="ctr"/>
            <a:endParaRPr lang="sv-SE">
              <a:ea typeface="Open Sans"/>
              <a:cs typeface="Open Sans"/>
            </a:endParaRPr>
          </a:p>
          <a:p>
            <a:pPr algn="ctr"/>
            <a:endParaRPr lang="sv-SE">
              <a:ea typeface="Open Sans"/>
              <a:cs typeface="Open Sans"/>
            </a:endParaRPr>
          </a:p>
        </p:txBody>
      </p:sp>
    </p:spTree>
    <p:extLst>
      <p:ext uri="{BB962C8B-B14F-4D97-AF65-F5344CB8AC3E}">
        <p14:creationId xmlns:p14="http://schemas.microsoft.com/office/powerpoint/2010/main" val="30478657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872DD3-D506-9C63-7E93-B287F7FC797C}"/>
              </a:ext>
            </a:extLst>
          </p:cNvPr>
          <p:cNvSpPr>
            <a:spLocks noGrp="1"/>
          </p:cNvSpPr>
          <p:nvPr>
            <p:ph type="title"/>
          </p:nvPr>
        </p:nvSpPr>
        <p:spPr/>
        <p:txBody>
          <a:bodyPr/>
          <a:lstStyle/>
          <a:p>
            <a:r>
              <a:rPr lang="en-US" dirty="0" err="1"/>
              <a:t>Förvaltningsundersökning</a:t>
            </a:r>
            <a:r>
              <a:rPr lang="en-US" dirty="0"/>
              <a:t> 2021</a:t>
            </a:r>
          </a:p>
        </p:txBody>
      </p:sp>
      <p:sp>
        <p:nvSpPr>
          <p:cNvPr id="8" name="Content Placeholder 7">
            <a:extLst>
              <a:ext uri="{FF2B5EF4-FFF2-40B4-BE49-F238E27FC236}">
                <a16:creationId xmlns:a16="http://schemas.microsoft.com/office/drawing/2014/main" id="{07ED2BBF-5AE0-76BE-F5A4-9697E2D9C4EE}"/>
              </a:ext>
            </a:extLst>
          </p:cNvPr>
          <p:cNvSpPr>
            <a:spLocks noGrp="1"/>
          </p:cNvSpPr>
          <p:nvPr>
            <p:ph idx="1"/>
          </p:nvPr>
        </p:nvSpPr>
        <p:spPr/>
        <p:txBody>
          <a:bodyPr vert="horz" lIns="0" tIns="0" rIns="0" bIns="0" rtlCol="0" anchor="t">
            <a:noAutofit/>
          </a:bodyPr>
          <a:lstStyle/>
          <a:p>
            <a:pPr marL="0" indent="0">
              <a:buNone/>
            </a:pPr>
            <a:r>
              <a:rPr lang="en-US" dirty="0">
                <a:ea typeface="Open Sans"/>
                <a:cs typeface="Open Sans"/>
              </a:rPr>
              <a:t>En </a:t>
            </a:r>
            <a:r>
              <a:rPr lang="en-US" dirty="0" err="1">
                <a:ea typeface="Open Sans"/>
                <a:cs typeface="Open Sans"/>
              </a:rPr>
              <a:t>undersökning</a:t>
            </a:r>
            <a:r>
              <a:rPr lang="en-US" dirty="0">
                <a:ea typeface="Open Sans"/>
                <a:cs typeface="Open Sans"/>
              </a:rPr>
              <a:t> </a:t>
            </a:r>
            <a:r>
              <a:rPr lang="en-US" dirty="0" err="1">
                <a:ea typeface="Open Sans"/>
                <a:cs typeface="Open Sans"/>
              </a:rPr>
              <a:t>kommer</a:t>
            </a:r>
            <a:r>
              <a:rPr lang="en-US" dirty="0">
                <a:ea typeface="Open Sans"/>
                <a:cs typeface="Open Sans"/>
              </a:rPr>
              <a:t> </a:t>
            </a:r>
            <a:r>
              <a:rPr lang="en-US" dirty="0" err="1">
                <a:ea typeface="Open Sans"/>
                <a:cs typeface="Open Sans"/>
              </a:rPr>
              <a:t>inom</a:t>
            </a:r>
            <a:r>
              <a:rPr lang="en-US" dirty="0">
                <a:ea typeface="Open Sans"/>
                <a:cs typeface="Open Sans"/>
              </a:rPr>
              <a:t> </a:t>
            </a:r>
            <a:r>
              <a:rPr lang="en-US" dirty="0" err="1">
                <a:ea typeface="Open Sans"/>
                <a:cs typeface="Open Sans"/>
              </a:rPr>
              <a:t>kort</a:t>
            </a:r>
            <a:r>
              <a:rPr lang="en-US" dirty="0">
                <a:ea typeface="Open Sans"/>
                <a:cs typeface="Open Sans"/>
              </a:rPr>
              <a:t> </a:t>
            </a:r>
            <a:r>
              <a:rPr lang="en-US" dirty="0" err="1">
                <a:ea typeface="Open Sans"/>
                <a:cs typeface="Open Sans"/>
              </a:rPr>
              <a:t>skickas</a:t>
            </a:r>
            <a:r>
              <a:rPr lang="en-US" dirty="0">
                <a:ea typeface="Open Sans"/>
                <a:cs typeface="Open Sans"/>
              </a:rPr>
              <a:t> till </a:t>
            </a:r>
            <a:r>
              <a:rPr lang="en-US" dirty="0" err="1">
                <a:ea typeface="Open Sans"/>
                <a:cs typeface="Open Sans"/>
              </a:rPr>
              <a:t>regionernas</a:t>
            </a:r>
            <a:r>
              <a:rPr lang="en-US" dirty="0">
                <a:ea typeface="Open Sans"/>
                <a:cs typeface="Open Sans"/>
              </a:rPr>
              <a:t> </a:t>
            </a:r>
            <a:r>
              <a:rPr lang="en-US" dirty="0" err="1">
                <a:ea typeface="Open Sans"/>
                <a:cs typeface="Open Sans"/>
              </a:rPr>
              <a:t>förvaltningar</a:t>
            </a:r>
            <a:r>
              <a:rPr lang="en-US" dirty="0">
                <a:ea typeface="Open Sans"/>
                <a:cs typeface="Open Sans"/>
              </a:rPr>
              <a:t>.</a:t>
            </a:r>
            <a:endParaRPr lang="en-US" dirty="0" err="1">
              <a:ea typeface="Open Sans"/>
              <a:cs typeface="Open Sans"/>
            </a:endParaRPr>
          </a:p>
          <a:p>
            <a:pPr marL="0" indent="0">
              <a:buNone/>
            </a:pPr>
            <a:endParaRPr lang="en-US" dirty="0">
              <a:ea typeface="Open Sans"/>
              <a:cs typeface="Open Sans"/>
            </a:endParaRPr>
          </a:p>
          <a:p>
            <a:pPr marL="0" indent="0">
              <a:buNone/>
            </a:pPr>
            <a:r>
              <a:rPr lang="en-US" dirty="0">
                <a:ea typeface="Open Sans"/>
                <a:cs typeface="Open Sans"/>
              </a:rPr>
              <a:t>Syftet </a:t>
            </a:r>
            <a:r>
              <a:rPr lang="en-US" dirty="0" err="1">
                <a:ea typeface="Open Sans"/>
                <a:cs typeface="Open Sans"/>
              </a:rPr>
              <a:t>är</a:t>
            </a:r>
            <a:r>
              <a:rPr lang="en-US" dirty="0">
                <a:ea typeface="Open Sans"/>
                <a:cs typeface="Open Sans"/>
              </a:rPr>
              <a:t> </a:t>
            </a:r>
            <a:r>
              <a:rPr lang="en-US" dirty="0" err="1">
                <a:ea typeface="Open Sans"/>
                <a:cs typeface="Open Sans"/>
              </a:rPr>
              <a:t>att</a:t>
            </a:r>
            <a:r>
              <a:rPr lang="en-US" dirty="0">
                <a:ea typeface="Open Sans"/>
                <a:cs typeface="Open Sans"/>
              </a:rPr>
              <a:t> </a:t>
            </a:r>
            <a:r>
              <a:rPr lang="en-US" dirty="0" err="1">
                <a:ea typeface="Open Sans"/>
                <a:cs typeface="Open Sans"/>
              </a:rPr>
              <a:t>utreda</a:t>
            </a:r>
            <a:r>
              <a:rPr lang="en-US" dirty="0">
                <a:ea typeface="Open Sans"/>
                <a:cs typeface="Open Sans"/>
              </a:rPr>
              <a:t> </a:t>
            </a:r>
            <a:r>
              <a:rPr lang="en-US" dirty="0" err="1">
                <a:ea typeface="Open Sans"/>
                <a:cs typeface="Open Sans"/>
              </a:rPr>
              <a:t>nöjdhet</a:t>
            </a:r>
            <a:r>
              <a:rPr lang="en-US" dirty="0">
                <a:ea typeface="Open Sans"/>
                <a:cs typeface="Open Sans"/>
              </a:rPr>
              <a:t>, </a:t>
            </a:r>
            <a:r>
              <a:rPr lang="en-US" dirty="0" err="1">
                <a:ea typeface="Open Sans"/>
                <a:cs typeface="Open Sans"/>
              </a:rPr>
              <a:t>behov</a:t>
            </a:r>
            <a:r>
              <a:rPr lang="en-US" dirty="0">
                <a:ea typeface="Open Sans"/>
                <a:cs typeface="Open Sans"/>
              </a:rPr>
              <a:t> </a:t>
            </a:r>
            <a:r>
              <a:rPr lang="en-US" dirty="0" err="1">
                <a:ea typeface="Open Sans"/>
                <a:cs typeface="Open Sans"/>
              </a:rPr>
              <a:t>och</a:t>
            </a:r>
            <a:r>
              <a:rPr lang="en-US" dirty="0">
                <a:ea typeface="Open Sans"/>
                <a:cs typeface="Open Sans"/>
              </a:rPr>
              <a:t> </a:t>
            </a:r>
            <a:r>
              <a:rPr lang="en-US" dirty="0" err="1">
                <a:ea typeface="Open Sans"/>
                <a:cs typeface="Open Sans"/>
              </a:rPr>
              <a:t>etablering</a:t>
            </a:r>
            <a:r>
              <a:rPr lang="en-US" dirty="0">
                <a:ea typeface="Open Sans"/>
                <a:cs typeface="Open Sans"/>
              </a:rPr>
              <a:t> för </a:t>
            </a:r>
            <a:r>
              <a:rPr lang="en-US" dirty="0" err="1">
                <a:ea typeface="Open Sans"/>
                <a:cs typeface="Open Sans"/>
              </a:rPr>
              <a:t>Stöd</a:t>
            </a:r>
            <a:r>
              <a:rPr lang="en-US" dirty="0">
                <a:ea typeface="Open Sans"/>
                <a:cs typeface="Open Sans"/>
              </a:rPr>
              <a:t> </a:t>
            </a:r>
            <a:r>
              <a:rPr lang="en-US" dirty="0" err="1">
                <a:ea typeface="Open Sans"/>
                <a:cs typeface="Open Sans"/>
              </a:rPr>
              <a:t>och</a:t>
            </a:r>
            <a:r>
              <a:rPr lang="en-US" dirty="0">
                <a:ea typeface="Open Sans"/>
                <a:cs typeface="Open Sans"/>
              </a:rPr>
              <a:t> </a:t>
            </a:r>
            <a:r>
              <a:rPr lang="en-US" dirty="0" err="1">
                <a:ea typeface="Open Sans"/>
                <a:cs typeface="Open Sans"/>
              </a:rPr>
              <a:t>behandling</a:t>
            </a:r>
            <a:r>
              <a:rPr lang="en-US" dirty="0">
                <a:ea typeface="Open Sans"/>
                <a:cs typeface="Open Sans"/>
              </a:rPr>
              <a:t> </a:t>
            </a:r>
            <a:r>
              <a:rPr lang="en-US" dirty="0" err="1">
                <a:ea typeface="Open Sans"/>
                <a:cs typeface="Open Sans"/>
              </a:rPr>
              <a:t>och</a:t>
            </a:r>
            <a:r>
              <a:rPr lang="en-US" dirty="0">
                <a:ea typeface="Open Sans"/>
                <a:cs typeface="Open Sans"/>
              </a:rPr>
              <a:t> er </a:t>
            </a:r>
            <a:r>
              <a:rPr lang="en-US" dirty="0" err="1">
                <a:ea typeface="Open Sans"/>
                <a:cs typeface="Open Sans"/>
              </a:rPr>
              <a:t>samverkan</a:t>
            </a:r>
            <a:r>
              <a:rPr lang="en-US" dirty="0">
                <a:ea typeface="Open Sans"/>
                <a:cs typeface="Open Sans"/>
              </a:rPr>
              <a:t> med </a:t>
            </a:r>
            <a:r>
              <a:rPr lang="en-US" dirty="0" err="1">
                <a:ea typeface="Open Sans"/>
                <a:cs typeface="Open Sans"/>
              </a:rPr>
              <a:t>Inera</a:t>
            </a:r>
            <a:r>
              <a:rPr lang="en-US" dirty="0">
                <a:ea typeface="Open Sans"/>
                <a:cs typeface="Open Sans"/>
              </a:rPr>
              <a:t>.</a:t>
            </a:r>
          </a:p>
          <a:p>
            <a:pPr marL="0" indent="0">
              <a:buNone/>
            </a:pPr>
            <a:r>
              <a:rPr lang="en-US" dirty="0">
                <a:ea typeface="Open Sans"/>
                <a:cs typeface="Open Sans"/>
              </a:rPr>
              <a:t>Den </a:t>
            </a:r>
            <a:r>
              <a:rPr lang="en-US" dirty="0" err="1">
                <a:ea typeface="Open Sans"/>
                <a:cs typeface="Open Sans"/>
              </a:rPr>
              <a:t>riktar</a:t>
            </a:r>
            <a:r>
              <a:rPr lang="en-US" dirty="0">
                <a:ea typeface="Open Sans"/>
                <a:cs typeface="Open Sans"/>
              </a:rPr>
              <a:t> sig till </a:t>
            </a:r>
            <a:r>
              <a:rPr lang="en-US" dirty="0" err="1">
                <a:ea typeface="Open Sans"/>
                <a:cs typeface="Open Sans"/>
              </a:rPr>
              <a:t>förvaltare</a:t>
            </a:r>
            <a:r>
              <a:rPr lang="en-US" dirty="0">
                <a:ea typeface="Open Sans"/>
                <a:cs typeface="Open Sans"/>
              </a:rPr>
              <a:t> av </a:t>
            </a:r>
            <a:r>
              <a:rPr lang="en-US" dirty="0" err="1">
                <a:ea typeface="Open Sans"/>
                <a:cs typeface="Open Sans"/>
              </a:rPr>
              <a:t>Stöd</a:t>
            </a:r>
            <a:r>
              <a:rPr lang="en-US" dirty="0">
                <a:ea typeface="Open Sans"/>
                <a:cs typeface="Open Sans"/>
              </a:rPr>
              <a:t> </a:t>
            </a:r>
            <a:r>
              <a:rPr lang="en-US" dirty="0" err="1">
                <a:ea typeface="Open Sans"/>
                <a:cs typeface="Open Sans"/>
              </a:rPr>
              <a:t>och</a:t>
            </a:r>
            <a:r>
              <a:rPr lang="en-US" dirty="0">
                <a:ea typeface="Open Sans"/>
                <a:cs typeface="Open Sans"/>
              </a:rPr>
              <a:t> </a:t>
            </a:r>
            <a:r>
              <a:rPr lang="en-US" dirty="0" err="1">
                <a:ea typeface="Open Sans"/>
                <a:cs typeface="Open Sans"/>
              </a:rPr>
              <a:t>behandling</a:t>
            </a:r>
            <a:r>
              <a:rPr lang="en-US" dirty="0">
                <a:ea typeface="Open Sans"/>
                <a:cs typeface="Open Sans"/>
              </a:rPr>
              <a:t>. Men </a:t>
            </a:r>
            <a:r>
              <a:rPr lang="en-US" dirty="0" err="1">
                <a:ea typeface="Open Sans"/>
                <a:cs typeface="Open Sans"/>
              </a:rPr>
              <a:t>flera</a:t>
            </a:r>
            <a:r>
              <a:rPr lang="en-US" dirty="0">
                <a:ea typeface="Open Sans"/>
                <a:cs typeface="Open Sans"/>
              </a:rPr>
              <a:t> </a:t>
            </a:r>
            <a:r>
              <a:rPr lang="en-US" dirty="0" err="1">
                <a:ea typeface="Open Sans"/>
                <a:cs typeface="Open Sans"/>
              </a:rPr>
              <a:t>inom</a:t>
            </a:r>
            <a:r>
              <a:rPr lang="en-US" dirty="0">
                <a:ea typeface="Open Sans"/>
                <a:cs typeface="Open Sans"/>
              </a:rPr>
              <a:t> </a:t>
            </a:r>
            <a:r>
              <a:rPr lang="en-US" dirty="0" err="1">
                <a:ea typeface="Open Sans"/>
                <a:cs typeface="Open Sans"/>
              </a:rPr>
              <a:t>regionen</a:t>
            </a:r>
            <a:r>
              <a:rPr lang="en-US" dirty="0">
                <a:ea typeface="Open Sans"/>
                <a:cs typeface="Open Sans"/>
              </a:rPr>
              <a:t> </a:t>
            </a:r>
            <a:r>
              <a:rPr lang="en-US" dirty="0" err="1">
                <a:ea typeface="Open Sans"/>
                <a:cs typeface="Open Sans"/>
              </a:rPr>
              <a:t>kan</a:t>
            </a:r>
            <a:r>
              <a:rPr lang="en-US" dirty="0">
                <a:ea typeface="Open Sans"/>
                <a:cs typeface="Open Sans"/>
              </a:rPr>
              <a:t> </a:t>
            </a:r>
            <a:r>
              <a:rPr lang="en-US" dirty="0" err="1">
                <a:ea typeface="Open Sans"/>
                <a:cs typeface="Open Sans"/>
              </a:rPr>
              <a:t>svara</a:t>
            </a:r>
            <a:r>
              <a:rPr lang="en-US" dirty="0">
                <a:ea typeface="Open Sans"/>
                <a:cs typeface="Open Sans"/>
              </a:rPr>
              <a:t> </a:t>
            </a:r>
            <a:r>
              <a:rPr lang="en-US" dirty="0" err="1">
                <a:ea typeface="Open Sans"/>
                <a:cs typeface="Open Sans"/>
              </a:rPr>
              <a:t>på</a:t>
            </a:r>
            <a:r>
              <a:rPr lang="en-US" dirty="0">
                <a:ea typeface="Open Sans"/>
                <a:cs typeface="Open Sans"/>
              </a:rPr>
              <a:t> den </a:t>
            </a:r>
            <a:r>
              <a:rPr lang="en-US" dirty="0" err="1">
                <a:ea typeface="Open Sans"/>
                <a:cs typeface="Open Sans"/>
              </a:rPr>
              <a:t>separat</a:t>
            </a:r>
            <a:r>
              <a:rPr lang="en-US" dirty="0">
                <a:ea typeface="Open Sans"/>
                <a:cs typeface="Open Sans"/>
              </a:rPr>
              <a:t> för </a:t>
            </a:r>
            <a:r>
              <a:rPr lang="en-US" dirty="0" err="1">
                <a:ea typeface="Open Sans"/>
                <a:cs typeface="Open Sans"/>
              </a:rPr>
              <a:t>en</a:t>
            </a:r>
            <a:r>
              <a:rPr lang="en-US" dirty="0">
                <a:ea typeface="Open Sans"/>
                <a:cs typeface="Open Sans"/>
              </a:rPr>
              <a:t> </a:t>
            </a:r>
            <a:r>
              <a:rPr lang="en-US" dirty="0" err="1">
                <a:ea typeface="Open Sans"/>
                <a:cs typeface="Open Sans"/>
              </a:rPr>
              <a:t>rikare</a:t>
            </a:r>
            <a:r>
              <a:rPr lang="en-US" dirty="0">
                <a:ea typeface="Open Sans"/>
                <a:cs typeface="Open Sans"/>
              </a:rPr>
              <a:t> </a:t>
            </a:r>
            <a:r>
              <a:rPr lang="en-US" dirty="0" err="1">
                <a:ea typeface="Open Sans"/>
                <a:cs typeface="Open Sans"/>
              </a:rPr>
              <a:t>bild</a:t>
            </a:r>
            <a:r>
              <a:rPr lang="en-US" dirty="0">
                <a:ea typeface="Open Sans"/>
                <a:cs typeface="Open Sans"/>
              </a:rPr>
              <a:t> av </a:t>
            </a:r>
            <a:r>
              <a:rPr lang="en-US" dirty="0" err="1">
                <a:ea typeface="Open Sans"/>
                <a:cs typeface="Open Sans"/>
              </a:rPr>
              <a:t>behovet</a:t>
            </a:r>
            <a:r>
              <a:rPr lang="en-US" dirty="0">
                <a:ea typeface="Open Sans"/>
                <a:cs typeface="Open Sans"/>
              </a:rPr>
              <a:t> </a:t>
            </a:r>
            <a:r>
              <a:rPr lang="en-US" dirty="0" err="1">
                <a:ea typeface="Open Sans"/>
                <a:cs typeface="Open Sans"/>
              </a:rPr>
              <a:t>framåt</a:t>
            </a:r>
            <a:r>
              <a:rPr lang="en-US" dirty="0">
                <a:ea typeface="Open Sans"/>
                <a:cs typeface="Open Sans"/>
              </a:rPr>
              <a:t>.</a:t>
            </a:r>
          </a:p>
          <a:p>
            <a:pPr marL="0" indent="0">
              <a:buNone/>
            </a:pPr>
            <a:endParaRPr lang="en-US" dirty="0">
              <a:ea typeface="Open Sans"/>
              <a:cs typeface="Open Sans"/>
            </a:endParaRPr>
          </a:p>
          <a:p>
            <a:pPr marL="0" indent="0">
              <a:buNone/>
            </a:pPr>
            <a:endParaRPr lang="en-US" dirty="0">
              <a:ea typeface="Open Sans"/>
              <a:cs typeface="Open Sans"/>
            </a:endParaRPr>
          </a:p>
          <a:p>
            <a:pPr marL="0" indent="0">
              <a:buNone/>
            </a:pPr>
            <a:endParaRPr lang="en-US" dirty="0">
              <a:ea typeface="Open Sans"/>
              <a:cs typeface="Open Sans"/>
            </a:endParaRPr>
          </a:p>
          <a:p>
            <a:pPr marL="0" indent="0">
              <a:buNone/>
            </a:pPr>
            <a:endParaRPr lang="en-US" dirty="0">
              <a:ea typeface="Open Sans"/>
              <a:cs typeface="Open Sans"/>
            </a:endParaRPr>
          </a:p>
        </p:txBody>
      </p:sp>
      <p:sp>
        <p:nvSpPr>
          <p:cNvPr id="4" name="Platshållare för sidfot 3">
            <a:extLst>
              <a:ext uri="{FF2B5EF4-FFF2-40B4-BE49-F238E27FC236}">
                <a16:creationId xmlns:a16="http://schemas.microsoft.com/office/drawing/2014/main" id="{B2C21426-4145-4481-9FF9-4589124127A9}"/>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2C3D724-AFE2-435C-B1CE-D997227B3AA4}"/>
              </a:ext>
            </a:extLst>
          </p:cNvPr>
          <p:cNvSpPr>
            <a:spLocks noGrp="1"/>
          </p:cNvSpPr>
          <p:nvPr>
            <p:ph type="sldNum" sz="quarter" idx="12"/>
          </p:nvPr>
        </p:nvSpPr>
        <p:spPr/>
        <p:txBody>
          <a:bodyPr/>
          <a:lstStyle/>
          <a:p>
            <a:fld id="{D1B389D8-6223-4B1D-82AB-19C377706A8C}" type="slidenum">
              <a:rPr lang="sv-SE" smtClean="0"/>
              <a:t>58</a:t>
            </a:fld>
            <a:endParaRPr lang="sv-SE"/>
          </a:p>
        </p:txBody>
      </p:sp>
    </p:spTree>
    <p:extLst>
      <p:ext uri="{BB962C8B-B14F-4D97-AF65-F5344CB8AC3E}">
        <p14:creationId xmlns:p14="http://schemas.microsoft.com/office/powerpoint/2010/main" val="1002276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v användarforum</a:t>
            </a:r>
          </a:p>
          <a:p>
            <a:pPr marL="0" indent="0">
              <a:lnSpc>
                <a:spcPct val="100000"/>
              </a:lnSpc>
              <a:spcBef>
                <a:spcPts val="0"/>
              </a:spcBef>
              <a:spcAft>
                <a:spcPts val="1800"/>
              </a:spcAft>
              <a:buNone/>
            </a:pPr>
            <a:r>
              <a:rPr lang="sv-SE" dirty="0">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59</a:t>
            </a:fld>
            <a:endParaRPr lang="sv-SE"/>
          </a:p>
        </p:txBody>
      </p:sp>
    </p:spTree>
    <p:extLst>
      <p:ext uri="{BB962C8B-B14F-4D97-AF65-F5344CB8AC3E}">
        <p14:creationId xmlns:p14="http://schemas.microsoft.com/office/powerpoint/2010/main" val="338339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896C9376-4CF5-52E6-8653-EF1D549C0884}"/>
              </a:ext>
            </a:extLst>
          </p:cNvPr>
          <p:cNvSpPr>
            <a:spLocks noGrp="1"/>
          </p:cNvSpPr>
          <p:nvPr>
            <p:ph type="title"/>
          </p:nvPr>
        </p:nvSpPr>
        <p:spPr>
          <a:xfrm>
            <a:off x="874296" y="84221"/>
            <a:ext cx="10567736" cy="1149264"/>
          </a:xfrm>
        </p:spPr>
        <p:txBody>
          <a:bodyPr/>
          <a:lstStyle/>
          <a:p>
            <a:r>
              <a:rPr lang="en-US" dirty="0"/>
              <a:t>NKI – </a:t>
            </a:r>
            <a:r>
              <a:rPr lang="en-US" dirty="0" err="1"/>
              <a:t>Nöjd</a:t>
            </a:r>
            <a:r>
              <a:rPr lang="en-US" dirty="0"/>
              <a:t> </a:t>
            </a:r>
            <a:r>
              <a:rPr lang="en-US" dirty="0" err="1"/>
              <a:t>kund</a:t>
            </a:r>
            <a:r>
              <a:rPr lang="en-US" dirty="0"/>
              <a:t> index 2022</a:t>
            </a:r>
          </a:p>
        </p:txBody>
      </p:sp>
      <p:sp>
        <p:nvSpPr>
          <p:cNvPr id="21" name="Content Placeholder 2">
            <a:extLst>
              <a:ext uri="{FF2B5EF4-FFF2-40B4-BE49-F238E27FC236}">
                <a16:creationId xmlns:a16="http://schemas.microsoft.com/office/drawing/2014/main" id="{8453AA3C-E61A-BAB7-D3A6-83BBFCF7B233}"/>
              </a:ext>
            </a:extLst>
          </p:cNvPr>
          <p:cNvSpPr>
            <a:spLocks noGrp="1"/>
          </p:cNvSpPr>
          <p:nvPr>
            <p:ph idx="1"/>
          </p:nvPr>
        </p:nvSpPr>
        <p:spPr>
          <a:xfrm>
            <a:off x="874296" y="1317762"/>
            <a:ext cx="5919810" cy="3564527"/>
          </a:xfrm>
        </p:spPr>
        <p:txBody>
          <a:bodyPr/>
          <a:lstStyle/>
          <a:p>
            <a:pPr marL="0" indent="0">
              <a:buNone/>
            </a:pPr>
            <a:r>
              <a:rPr lang="sv-SE" b="1" dirty="0"/>
              <a:t>Invånare</a:t>
            </a:r>
            <a:r>
              <a:rPr lang="sv-SE" dirty="0"/>
              <a:t>: </a:t>
            </a:r>
          </a:p>
          <a:p>
            <a:r>
              <a:rPr lang="sv-SE" dirty="0"/>
              <a:t>Enkätsvar inhämtades i tjänsten under perioden 16 februari – 11 mars 2022</a:t>
            </a:r>
          </a:p>
          <a:p>
            <a:r>
              <a:rPr lang="sv-SE" dirty="0"/>
              <a:t>Totalt inkom 3073 enkätsvar, alla respondenter lämnade INTE fritextsvar.</a:t>
            </a:r>
          </a:p>
          <a:p>
            <a:endParaRPr lang="en-US" dirty="0"/>
          </a:p>
          <a:p>
            <a:pPr marL="0" indent="0">
              <a:buNone/>
            </a:pPr>
            <a:r>
              <a:rPr lang="sv-SE" b="1" dirty="0"/>
              <a:t>Personal</a:t>
            </a:r>
            <a:r>
              <a:rPr lang="sv-SE" dirty="0"/>
              <a:t>: </a:t>
            </a:r>
          </a:p>
          <a:p>
            <a:r>
              <a:rPr lang="sv-SE" dirty="0"/>
              <a:t>Enkätsvar inhämtades under perioden 17 februari – 25 mars 2022.</a:t>
            </a:r>
          </a:p>
          <a:p>
            <a:r>
              <a:rPr lang="sv-SE" dirty="0"/>
              <a:t>Totalt inkom 415 enkätsvar, alla respondenter lämnade INTE fritextsvar.</a:t>
            </a:r>
          </a:p>
        </p:txBody>
      </p:sp>
      <p:sp>
        <p:nvSpPr>
          <p:cNvPr id="23" name="Footer Placeholder 3">
            <a:extLst>
              <a:ext uri="{FF2B5EF4-FFF2-40B4-BE49-F238E27FC236}">
                <a16:creationId xmlns:a16="http://schemas.microsoft.com/office/drawing/2014/main" id="{C6AC8B81-88C3-0C8B-45A4-63F16E427487}"/>
              </a:ext>
            </a:extLst>
          </p:cNvPr>
          <p:cNvSpPr>
            <a:spLocks noGrp="1"/>
          </p:cNvSpPr>
          <p:nvPr>
            <p:ph type="ftr" sz="quarter" idx="11"/>
          </p:nvPr>
        </p:nvSpPr>
        <p:spPr>
          <a:xfrm>
            <a:off x="711722" y="6311973"/>
            <a:ext cx="4114800" cy="365125"/>
          </a:xfrm>
        </p:spPr>
        <p:txBody>
          <a:bodyPr/>
          <a:lstStyle/>
          <a:p>
            <a:endParaRPr lang="sv-SE"/>
          </a:p>
        </p:txBody>
      </p:sp>
      <p:sp>
        <p:nvSpPr>
          <p:cNvPr id="25" name="Slide Number Placeholder 4">
            <a:extLst>
              <a:ext uri="{FF2B5EF4-FFF2-40B4-BE49-F238E27FC236}">
                <a16:creationId xmlns:a16="http://schemas.microsoft.com/office/drawing/2014/main" id="{4442BC38-1C2C-2104-448E-537FF9743B9E}"/>
              </a:ext>
            </a:extLst>
          </p:cNvPr>
          <p:cNvSpPr>
            <a:spLocks noGrp="1"/>
          </p:cNvSpPr>
          <p:nvPr>
            <p:ph type="sldNum" sz="quarter" idx="12"/>
          </p:nvPr>
        </p:nvSpPr>
        <p:spPr>
          <a:xfrm>
            <a:off x="276721" y="6311994"/>
            <a:ext cx="390055" cy="365125"/>
          </a:xfrm>
        </p:spPr>
        <p:txBody>
          <a:bodyPr/>
          <a:lstStyle/>
          <a:p>
            <a:pPr>
              <a:spcAft>
                <a:spcPts val="600"/>
              </a:spcAft>
            </a:pPr>
            <a:fld id="{7FF155A8-5C6D-4241-95DF-81E4F2B16EE5}" type="slidenum">
              <a:rPr lang="sv-SE" smtClean="0"/>
              <a:pPr>
                <a:spcAft>
                  <a:spcPts val="600"/>
                </a:spcAft>
              </a:pPr>
              <a:t>6</a:t>
            </a:fld>
            <a:endParaRPr lang="sv-SE"/>
          </a:p>
        </p:txBody>
      </p:sp>
      <p:pic>
        <p:nvPicPr>
          <p:cNvPr id="14" name="Platshållare för innehåll 13">
            <a:extLst>
              <a:ext uri="{FF2B5EF4-FFF2-40B4-BE49-F238E27FC236}">
                <a16:creationId xmlns:a16="http://schemas.microsoft.com/office/drawing/2014/main" id="{ABBF4B5A-79FC-4034-9856-E79E2C7951E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tretch/>
        </p:blipFill>
        <p:spPr>
          <a:xfrm>
            <a:off x="7267531" y="855161"/>
            <a:ext cx="4314097" cy="3160076"/>
          </a:xfrm>
          <a:noFill/>
        </p:spPr>
      </p:pic>
      <p:sp>
        <p:nvSpPr>
          <p:cNvPr id="7" name="textruta 6">
            <a:extLst>
              <a:ext uri="{FF2B5EF4-FFF2-40B4-BE49-F238E27FC236}">
                <a16:creationId xmlns:a16="http://schemas.microsoft.com/office/drawing/2014/main" id="{33F3EE91-202F-4752-84CD-D6186F22A405}"/>
              </a:ext>
            </a:extLst>
          </p:cNvPr>
          <p:cNvSpPr txBox="1"/>
          <p:nvPr/>
        </p:nvSpPr>
        <p:spPr>
          <a:xfrm>
            <a:off x="8075535" y="4491096"/>
            <a:ext cx="2698088" cy="1384995"/>
          </a:xfrm>
          <a:prstGeom prst="rect">
            <a:avLst/>
          </a:prstGeom>
          <a:noFill/>
          <a:ln>
            <a:solidFill>
              <a:schemeClr val="tx1"/>
            </a:solidFill>
            <a:prstDash val="sysDash"/>
          </a:ln>
        </p:spPr>
        <p:txBody>
          <a:bodyPr wrap="square" rtlCol="0">
            <a:spAutoFit/>
          </a:bodyPr>
          <a:lstStyle/>
          <a:p>
            <a:r>
              <a:rPr lang="sv-SE" sz="1400" dirty="0"/>
              <a:t>Indexnivåerna klassificeras: </a:t>
            </a:r>
          </a:p>
          <a:p>
            <a:r>
              <a:rPr lang="sv-SE" sz="1400" dirty="0"/>
              <a:t>0–49% = mycket lågt, </a:t>
            </a:r>
          </a:p>
          <a:p>
            <a:r>
              <a:rPr lang="sv-SE" sz="1400" dirty="0"/>
              <a:t>50-59% = lågt, </a:t>
            </a:r>
          </a:p>
          <a:p>
            <a:r>
              <a:rPr lang="sv-SE" sz="1400" dirty="0"/>
              <a:t>60–69% = godkänt, </a:t>
            </a:r>
          </a:p>
          <a:p>
            <a:r>
              <a:rPr lang="sv-SE" sz="1400" dirty="0"/>
              <a:t>70–79% = högt </a:t>
            </a:r>
          </a:p>
          <a:p>
            <a:r>
              <a:rPr lang="sv-SE" sz="1400" dirty="0"/>
              <a:t>80% + = mycket högt.</a:t>
            </a:r>
          </a:p>
        </p:txBody>
      </p:sp>
    </p:spTree>
    <p:extLst>
      <p:ext uri="{BB962C8B-B14F-4D97-AF65-F5344CB8AC3E}">
        <p14:creationId xmlns:p14="http://schemas.microsoft.com/office/powerpoint/2010/main" val="418650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Release SOB2022:1 tisdag 31 maj </a:t>
            </a:r>
            <a:r>
              <a:rPr lang="sv-SE" err="1">
                <a:ea typeface="+mj-lt"/>
                <a:cs typeface="+mj-lt"/>
              </a:rPr>
              <a:t>kl</a:t>
            </a:r>
            <a:r>
              <a:rPr lang="sv-SE">
                <a:ea typeface="+mj-lt"/>
                <a:cs typeface="+mj-lt"/>
              </a:rPr>
              <a:t> 17:00—21:30</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Ny version av formulärmotor – förbättrad prestand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Ny version av </a:t>
            </a:r>
            <a:r>
              <a:rPr lang="sv-SE" err="1">
                <a:solidFill>
                  <a:schemeClr val="tx1"/>
                </a:solidFill>
                <a:ea typeface="Open Sans"/>
                <a:cs typeface="Open Sans"/>
              </a:rPr>
              <a:t>Angular</a:t>
            </a:r>
            <a:r>
              <a:rPr lang="sv-SE">
                <a:solidFill>
                  <a:schemeClr val="tx1"/>
                </a:solidFill>
                <a:ea typeface="Open Sans"/>
                <a:cs typeface="Open Sans"/>
              </a:rPr>
              <a:t> – påverkar enbart invånarvyerna  i produktionsmiljön</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Under tiden för servicefönstret kommer man inte kunna vara inne i Stöd och behandling och arbeta</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Frågor?</a:t>
            </a:r>
          </a:p>
          <a:p>
            <a:pPr marL="0" indent="0">
              <a:lnSpc>
                <a:spcPct val="100000"/>
              </a:lnSpc>
              <a:spcBef>
                <a:spcPts val="0"/>
              </a:spcBef>
              <a:spcAft>
                <a:spcPts val="1800"/>
              </a:spcAft>
              <a:buNone/>
            </a:pPr>
            <a:r>
              <a:rPr lang="sv-SE">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60</a:t>
            </a:fld>
            <a:endParaRPr lang="sv-SE"/>
          </a:p>
        </p:txBody>
      </p:sp>
    </p:spTree>
    <p:extLst>
      <p:ext uri="{BB962C8B-B14F-4D97-AF65-F5344CB8AC3E}">
        <p14:creationId xmlns:p14="http://schemas.microsoft.com/office/powerpoint/2010/main" val="976003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v användarforum</a:t>
            </a:r>
          </a:p>
          <a:p>
            <a:pPr marL="0" indent="0">
              <a:lnSpc>
                <a:spcPct val="100000"/>
              </a:lnSpc>
              <a:spcBef>
                <a:spcPts val="0"/>
              </a:spcBef>
              <a:spcAft>
                <a:spcPts val="1800"/>
              </a:spcAft>
              <a:buNone/>
            </a:pPr>
            <a:r>
              <a:rPr lang="sv-SE" dirty="0">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61</a:t>
            </a:fld>
            <a:endParaRPr lang="sv-SE"/>
          </a:p>
        </p:txBody>
      </p:sp>
    </p:spTree>
    <p:extLst>
      <p:ext uri="{BB962C8B-B14F-4D97-AF65-F5344CB8AC3E}">
        <p14:creationId xmlns:p14="http://schemas.microsoft.com/office/powerpoint/2010/main" val="89972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Information om Internet </a:t>
            </a:r>
            <a:r>
              <a:rPr lang="sv-SE" err="1">
                <a:ea typeface="+mj-lt"/>
                <a:cs typeface="+mj-lt"/>
              </a:rPr>
              <a:t>explorer</a:t>
            </a:r>
            <a:r>
              <a:rPr lang="sv-SE">
                <a:ea typeface="+mj-lt"/>
                <a:cs typeface="+mj-lt"/>
              </a:rPr>
              <a:t> 11</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Microsoft slutar supportera </a:t>
            </a:r>
            <a:r>
              <a:rPr lang="sv-SE" err="1">
                <a:solidFill>
                  <a:schemeClr val="tx1"/>
                </a:solidFill>
                <a:ea typeface="Open Sans"/>
                <a:cs typeface="Open Sans"/>
              </a:rPr>
              <a:t>webläsaren</a:t>
            </a:r>
            <a:r>
              <a:rPr lang="sv-SE">
                <a:solidFill>
                  <a:schemeClr val="tx1"/>
                </a:solidFill>
                <a:ea typeface="Open Sans"/>
                <a:cs typeface="Open Sans"/>
              </a:rPr>
              <a:t> fr o m juni 2022</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Inga fler säkerhetsuppdateringar kommer att kunna fås från Microsoft</a:t>
            </a:r>
          </a:p>
          <a:p>
            <a:pPr marL="285750" indent="-285750">
              <a:lnSpc>
                <a:spcPct val="100000"/>
              </a:lnSpc>
              <a:spcBef>
                <a:spcPts val="0"/>
              </a:spcBef>
              <a:spcAft>
                <a:spcPts val="1800"/>
              </a:spcAft>
              <a:buFont typeface="Arial,Sans-Serif" panose="020B0604020202020204" pitchFamily="34" charset="0"/>
            </a:pPr>
            <a:endParaRPr lang="sv-SE">
              <a:solidFill>
                <a:schemeClr val="tx1"/>
              </a:solidFill>
              <a:ea typeface="Open Sans"/>
              <a:cs typeface="Open Sans"/>
            </a:endParaRP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62</a:t>
            </a:fld>
            <a:endParaRPr lang="sv-SE"/>
          </a:p>
        </p:txBody>
      </p:sp>
    </p:spTree>
    <p:extLst>
      <p:ext uri="{BB962C8B-B14F-4D97-AF65-F5344CB8AC3E}">
        <p14:creationId xmlns:p14="http://schemas.microsoft.com/office/powerpoint/2010/main" val="210818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v användarforum</a:t>
            </a:r>
          </a:p>
          <a:p>
            <a:pPr marL="0" indent="0">
              <a:lnSpc>
                <a:spcPct val="100000"/>
              </a:lnSpc>
              <a:spcBef>
                <a:spcPts val="0"/>
              </a:spcBef>
              <a:spcAft>
                <a:spcPts val="1800"/>
              </a:spcAft>
              <a:buNone/>
            </a:pPr>
            <a:r>
              <a:rPr lang="sv-SE" dirty="0">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63</a:t>
            </a:fld>
            <a:endParaRPr lang="sv-SE"/>
          </a:p>
        </p:txBody>
      </p:sp>
    </p:spTree>
    <p:extLst>
      <p:ext uri="{BB962C8B-B14F-4D97-AF65-F5344CB8AC3E}">
        <p14:creationId xmlns:p14="http://schemas.microsoft.com/office/powerpoint/2010/main" val="3180979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Shape 159"/>
        <p:cNvGrpSpPr/>
        <p:nvPr/>
      </p:nvGrpSpPr>
      <p:grpSpPr>
        <a:xfrm>
          <a:off x="0" y="0"/>
          <a:ext cx="0" cy="0"/>
          <a:chOff x="0" y="0"/>
          <a:chExt cx="0" cy="0"/>
        </a:xfrm>
      </p:grpSpPr>
      <p:sp>
        <p:nvSpPr>
          <p:cNvPr id="161" name="Google Shape;161;p6"/>
          <p:cNvSpPr txBox="1">
            <a:spLocks noGrp="1"/>
          </p:cNvSpPr>
          <p:nvPr>
            <p:ph type="body" idx="1"/>
          </p:nvPr>
        </p:nvSpPr>
        <p:spPr>
          <a:xfrm>
            <a:off x="901724" y="1499969"/>
            <a:ext cx="5565900" cy="3564600"/>
          </a:xfrm>
          <a:prstGeom prst="rect">
            <a:avLst/>
          </a:prstGeom>
          <a:noFill/>
          <a:ln>
            <a:noFill/>
          </a:ln>
        </p:spPr>
        <p:txBody>
          <a:bodyPr spcFirstLastPara="1" wrap="square" lIns="0" tIns="0" rIns="0" bIns="0" anchor="t" anchorCtr="0">
            <a:noAutofit/>
          </a:bodyPr>
          <a:lstStyle/>
          <a:p>
            <a:pPr marL="114300" indent="0">
              <a:spcBef>
                <a:spcPts val="0"/>
              </a:spcBef>
              <a:buNone/>
            </a:pPr>
            <a:r>
              <a:rPr lang="sv-SE" b="1" dirty="0">
                <a:solidFill>
                  <a:schemeClr val="accent2"/>
                </a:solidFill>
                <a:sym typeface="Open Sans"/>
              </a:rPr>
              <a:t>HUR?</a:t>
            </a:r>
          </a:p>
          <a:p>
            <a:pPr>
              <a:spcBef>
                <a:spcPts val="0"/>
              </a:spcBef>
            </a:pPr>
            <a:r>
              <a:rPr lang="sv-SE" dirty="0">
                <a:solidFill>
                  <a:schemeClr val="accent2"/>
                </a:solidFill>
                <a:sym typeface="Open Sans"/>
              </a:rPr>
              <a:t>Kvalitativa intervjuer via Teams och interaktion med en prototyp.</a:t>
            </a:r>
          </a:p>
          <a:p>
            <a:pPr marL="457200" lvl="0" indent="-342900">
              <a:spcBef>
                <a:spcPts val="0"/>
              </a:spcBef>
              <a:buFont typeface="Arial" panose="020B0604020202020204" pitchFamily="34" charset="0"/>
              <a:buChar char="•"/>
            </a:pPr>
            <a:endParaRPr lang="sv-SE" dirty="0"/>
          </a:p>
          <a:p>
            <a:pPr marL="114300" indent="0">
              <a:spcBef>
                <a:spcPts val="0"/>
              </a:spcBef>
              <a:buNone/>
            </a:pPr>
            <a:r>
              <a:rPr lang="sv-SE" b="1" dirty="0">
                <a:solidFill>
                  <a:schemeClr val="accent2"/>
                </a:solidFill>
                <a:sym typeface="Open Sans"/>
              </a:rPr>
              <a:t>VILKA?</a:t>
            </a:r>
          </a:p>
          <a:p>
            <a:pPr marL="457200" lvl="0" indent="-342900">
              <a:spcBef>
                <a:spcPts val="0"/>
              </a:spcBef>
              <a:buFont typeface="Arial" panose="020B0604020202020204" pitchFamily="34" charset="0"/>
              <a:buChar char="•"/>
            </a:pPr>
            <a:r>
              <a:rPr lang="sv-SE" dirty="0"/>
              <a:t>7 stycken respondenter</a:t>
            </a:r>
            <a:endParaRPr lang="sv-SE" sz="1600" dirty="0"/>
          </a:p>
          <a:p>
            <a:pPr marL="914400" lvl="1" indent="-342900">
              <a:spcBef>
                <a:spcPts val="0"/>
              </a:spcBef>
              <a:buFont typeface="Arial" panose="020B0604020202020204" pitchFamily="34" charset="0"/>
              <a:buChar char="–"/>
            </a:pPr>
            <a:r>
              <a:rPr lang="sv-SE" dirty="0"/>
              <a:t>Majoriteten hade nästan alla roller aktiverade</a:t>
            </a:r>
            <a:endParaRPr lang="sv-SE" sz="2000" b="1" dirty="0">
              <a:solidFill>
                <a:schemeClr val="accent2"/>
              </a:solidFill>
              <a:sym typeface="Open Sans"/>
            </a:endParaRPr>
          </a:p>
          <a:p>
            <a:pPr marL="571500" lvl="1" indent="0">
              <a:spcBef>
                <a:spcPts val="0"/>
              </a:spcBef>
              <a:buNone/>
            </a:pPr>
            <a:endParaRPr lang="sv-SE" sz="1800" dirty="0"/>
          </a:p>
          <a:p>
            <a:pPr marL="457200" lvl="0" indent="-342900">
              <a:spcBef>
                <a:spcPts val="0"/>
              </a:spcBef>
              <a:buFont typeface="Arial" panose="020B0604020202020204" pitchFamily="34" charset="0"/>
              <a:buChar char="•"/>
            </a:pPr>
            <a:r>
              <a:rPr lang="sv-SE" dirty="0"/>
              <a:t>Yrke</a:t>
            </a:r>
          </a:p>
          <a:p>
            <a:pPr marL="914400" lvl="1" indent="-342900">
              <a:spcBef>
                <a:spcPts val="0"/>
              </a:spcBef>
              <a:buFont typeface="Arial" panose="020B0604020202020204" pitchFamily="34" charset="0"/>
              <a:buChar char="–"/>
            </a:pPr>
            <a:r>
              <a:rPr lang="sv-SE" dirty="0"/>
              <a:t>6 stycken Psykologer</a:t>
            </a:r>
            <a:endParaRPr dirty="0"/>
          </a:p>
          <a:p>
            <a:pPr marL="914400" lvl="1" indent="-342900">
              <a:spcBef>
                <a:spcPts val="0"/>
              </a:spcBef>
              <a:buFont typeface="Arial" panose="020B0604020202020204" pitchFamily="34" charset="0"/>
              <a:buChar char="–"/>
            </a:pPr>
            <a:r>
              <a:rPr lang="sv-SE" dirty="0"/>
              <a:t>1 stycken Habilitering</a:t>
            </a:r>
          </a:p>
          <a:p>
            <a:pPr marL="0" lvl="0" indent="0">
              <a:spcBef>
                <a:spcPts val="0"/>
              </a:spcBef>
              <a:buFont typeface="Arial" panose="020B0604020202020204" pitchFamily="34" charset="0"/>
              <a:buNone/>
            </a:pPr>
            <a:endParaRPr dirty="0"/>
          </a:p>
          <a:p>
            <a:pPr marL="457200" lvl="0" indent="-342900">
              <a:spcBef>
                <a:spcPts val="0"/>
              </a:spcBef>
              <a:buFont typeface="Arial" panose="020B0604020202020204" pitchFamily="34" charset="0"/>
              <a:buChar char="•"/>
            </a:pPr>
            <a:r>
              <a:rPr lang="sv-SE" dirty="0"/>
              <a:t>Regioner</a:t>
            </a:r>
          </a:p>
          <a:p>
            <a:pPr lvl="1">
              <a:spcBef>
                <a:spcPts val="0"/>
              </a:spcBef>
            </a:pPr>
            <a:r>
              <a:rPr lang="sv-SE" dirty="0"/>
              <a:t>4 stycken från Stockholm</a:t>
            </a:r>
          </a:p>
          <a:p>
            <a:pPr lvl="1">
              <a:spcBef>
                <a:spcPts val="0"/>
              </a:spcBef>
            </a:pPr>
            <a:r>
              <a:rPr lang="sv-SE" dirty="0"/>
              <a:t>1 stycken från Kalmar</a:t>
            </a:r>
          </a:p>
          <a:p>
            <a:pPr lvl="1">
              <a:spcBef>
                <a:spcPts val="0"/>
              </a:spcBef>
            </a:pPr>
            <a:r>
              <a:rPr lang="sv-SE" dirty="0"/>
              <a:t>1 stycken från Västerbotten</a:t>
            </a:r>
          </a:p>
          <a:p>
            <a:pPr lvl="1">
              <a:spcBef>
                <a:spcPts val="0"/>
              </a:spcBef>
            </a:pPr>
            <a:r>
              <a:rPr lang="sv-SE" dirty="0"/>
              <a:t>1 stycken från Östergötland</a:t>
            </a:r>
            <a:endParaRPr dirty="0"/>
          </a:p>
          <a:p>
            <a:pPr marL="228600" lvl="0" indent="-114300" algn="l" rtl="0">
              <a:lnSpc>
                <a:spcPct val="90000"/>
              </a:lnSpc>
              <a:spcBef>
                <a:spcPts val="1000"/>
              </a:spcBef>
              <a:spcAft>
                <a:spcPts val="0"/>
              </a:spcAft>
              <a:buSzPts val="1800"/>
              <a:buNone/>
            </a:pPr>
            <a:endParaRPr dirty="0"/>
          </a:p>
        </p:txBody>
      </p:sp>
      <p:sp>
        <p:nvSpPr>
          <p:cNvPr id="162" name="Google Shape;162;p6"/>
          <p:cNvSpPr txBox="1">
            <a:spLocks noGrp="1"/>
          </p:cNvSpPr>
          <p:nvPr>
            <p:ph type="ftr" idx="11"/>
          </p:nvPr>
        </p:nvSpPr>
        <p:spPr>
          <a:xfrm>
            <a:off x="711722" y="6311973"/>
            <a:ext cx="4114800" cy="365125"/>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163" name="Google Shape;163;p6"/>
          <p:cNvSpPr txBox="1">
            <a:spLocks noGrp="1"/>
          </p:cNvSpPr>
          <p:nvPr>
            <p:ph type="sldNum" idx="12"/>
          </p:nvPr>
        </p:nvSpPr>
        <p:spPr>
          <a:xfrm>
            <a:off x="276721" y="6311994"/>
            <a:ext cx="390055"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sv-SE"/>
              <a:t>64</a:t>
            </a:fld>
            <a:endParaRPr/>
          </a:p>
        </p:txBody>
      </p:sp>
      <p:sp>
        <p:nvSpPr>
          <p:cNvPr id="164" name="Google Shape;164;p6"/>
          <p:cNvSpPr/>
          <p:nvPr/>
        </p:nvSpPr>
        <p:spPr>
          <a:xfrm>
            <a:off x="6626087" y="0"/>
            <a:ext cx="5565913" cy="6101542"/>
          </a:xfrm>
          <a:prstGeom prst="rect">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Open Sans"/>
              <a:ea typeface="Open Sans"/>
              <a:cs typeface="Open Sans"/>
              <a:sym typeface="Open Sans"/>
            </a:endParaRPr>
          </a:p>
        </p:txBody>
      </p:sp>
      <p:pic>
        <p:nvPicPr>
          <p:cNvPr id="165" name="Google Shape;165;p6"/>
          <p:cNvPicPr preferRelativeResize="0"/>
          <p:nvPr/>
        </p:nvPicPr>
        <p:blipFill rotWithShape="1">
          <a:blip r:embed="rId3">
            <a:alphaModFix/>
          </a:blip>
          <a:srcRect b="19793"/>
          <a:stretch/>
        </p:blipFill>
        <p:spPr>
          <a:xfrm>
            <a:off x="7039368" y="4049490"/>
            <a:ext cx="2585821" cy="2073945"/>
          </a:xfrm>
          <a:prstGeom prst="rect">
            <a:avLst/>
          </a:prstGeom>
          <a:noFill/>
          <a:ln>
            <a:noFill/>
          </a:ln>
        </p:spPr>
      </p:pic>
      <p:pic>
        <p:nvPicPr>
          <p:cNvPr id="166" name="Google Shape;166;p6"/>
          <p:cNvPicPr preferRelativeResize="0"/>
          <p:nvPr/>
        </p:nvPicPr>
        <p:blipFill rotWithShape="1">
          <a:blip r:embed="rId4">
            <a:alphaModFix/>
          </a:blip>
          <a:srcRect b="19594"/>
          <a:stretch/>
        </p:blipFill>
        <p:spPr>
          <a:xfrm>
            <a:off x="9167438" y="4146935"/>
            <a:ext cx="2444598" cy="1965554"/>
          </a:xfrm>
          <a:prstGeom prst="rect">
            <a:avLst/>
          </a:prstGeom>
          <a:noFill/>
          <a:ln>
            <a:noFill/>
          </a:ln>
        </p:spPr>
      </p:pic>
      <p:sp>
        <p:nvSpPr>
          <p:cNvPr id="167" name="Google Shape;167;p6"/>
          <p:cNvSpPr txBox="1"/>
          <p:nvPr/>
        </p:nvSpPr>
        <p:spPr>
          <a:xfrm>
            <a:off x="7528570" y="1535396"/>
            <a:ext cx="3760945" cy="1588473"/>
          </a:xfrm>
          <a:prstGeom prst="rect">
            <a:avLst/>
          </a:prstGeom>
          <a:noFill/>
          <a:ln>
            <a:noFill/>
          </a:ln>
        </p:spPr>
        <p:txBody>
          <a:bodyPr spcFirstLastPara="1" wrap="square" lIns="127975" tIns="127975" rIns="127975" bIns="127975" anchor="t" anchorCtr="0">
            <a:noAutofit/>
          </a:bodyPr>
          <a:lstStyle/>
          <a:p>
            <a:pPr marL="0" marR="0" lvl="0" indent="0" algn="ctr" rtl="0">
              <a:spcBef>
                <a:spcPts val="0"/>
              </a:spcBef>
              <a:spcAft>
                <a:spcPts val="0"/>
              </a:spcAft>
              <a:buNone/>
            </a:pPr>
            <a:r>
              <a:rPr lang="sv-SE" sz="11200" b="1" dirty="0">
                <a:solidFill>
                  <a:schemeClr val="dk1"/>
                </a:solidFill>
                <a:latin typeface="Open Sans"/>
                <a:ea typeface="Open Sans"/>
                <a:cs typeface="Open Sans"/>
                <a:sym typeface="Open Sans"/>
              </a:rPr>
              <a:t>7</a:t>
            </a:r>
            <a:endParaRPr sz="4000" b="1" dirty="0">
              <a:solidFill>
                <a:schemeClr val="dk1"/>
              </a:solidFill>
              <a:latin typeface="Open Sans"/>
              <a:ea typeface="Open Sans"/>
              <a:cs typeface="Open Sans"/>
              <a:sym typeface="Open Sans"/>
            </a:endParaRPr>
          </a:p>
        </p:txBody>
      </p:sp>
      <p:sp>
        <p:nvSpPr>
          <p:cNvPr id="168" name="Google Shape;168;p6"/>
          <p:cNvSpPr txBox="1"/>
          <p:nvPr/>
        </p:nvSpPr>
        <p:spPr>
          <a:xfrm>
            <a:off x="7458568" y="3432218"/>
            <a:ext cx="1747422" cy="645603"/>
          </a:xfrm>
          <a:prstGeom prst="rect">
            <a:avLst/>
          </a:prstGeom>
          <a:noFill/>
          <a:ln>
            <a:noFill/>
          </a:ln>
        </p:spPr>
        <p:txBody>
          <a:bodyPr spcFirstLastPara="1" wrap="square" lIns="127975" tIns="127975" rIns="127975" bIns="127975" anchor="t" anchorCtr="0">
            <a:noAutofit/>
          </a:bodyPr>
          <a:lstStyle/>
          <a:p>
            <a:pPr marL="0" marR="0" lvl="0" indent="0" algn="ctr" rtl="0">
              <a:spcBef>
                <a:spcPts val="0"/>
              </a:spcBef>
              <a:spcAft>
                <a:spcPts val="0"/>
              </a:spcAft>
              <a:buNone/>
            </a:pPr>
            <a:r>
              <a:rPr lang="sv-SE" sz="3600" b="1">
                <a:solidFill>
                  <a:schemeClr val="dk1"/>
                </a:solidFill>
                <a:latin typeface="Open Sans"/>
                <a:ea typeface="Open Sans"/>
                <a:cs typeface="Open Sans"/>
                <a:sym typeface="Open Sans"/>
              </a:rPr>
              <a:t>85 %</a:t>
            </a:r>
            <a:endParaRPr sz="3600" b="1">
              <a:solidFill>
                <a:schemeClr val="dk1"/>
              </a:solidFill>
              <a:latin typeface="Open Sans"/>
              <a:ea typeface="Open Sans"/>
              <a:cs typeface="Open Sans"/>
              <a:sym typeface="Open Sans"/>
            </a:endParaRPr>
          </a:p>
        </p:txBody>
      </p:sp>
      <p:sp>
        <p:nvSpPr>
          <p:cNvPr id="169" name="Google Shape;169;p6"/>
          <p:cNvSpPr txBox="1"/>
          <p:nvPr/>
        </p:nvSpPr>
        <p:spPr>
          <a:xfrm>
            <a:off x="9522154" y="3428999"/>
            <a:ext cx="1747422" cy="645603"/>
          </a:xfrm>
          <a:prstGeom prst="rect">
            <a:avLst/>
          </a:prstGeom>
          <a:noFill/>
          <a:ln>
            <a:noFill/>
          </a:ln>
        </p:spPr>
        <p:txBody>
          <a:bodyPr spcFirstLastPara="1" wrap="square" lIns="127975" tIns="127975" rIns="127975" bIns="127975" anchor="t" anchorCtr="0">
            <a:noAutofit/>
          </a:bodyPr>
          <a:lstStyle/>
          <a:p>
            <a:pPr marL="0" marR="0" lvl="0" indent="0" algn="ctr" rtl="0">
              <a:spcBef>
                <a:spcPts val="0"/>
              </a:spcBef>
              <a:spcAft>
                <a:spcPts val="0"/>
              </a:spcAft>
              <a:buNone/>
            </a:pPr>
            <a:r>
              <a:rPr lang="sv-SE" sz="3600" b="1">
                <a:solidFill>
                  <a:schemeClr val="dk1"/>
                </a:solidFill>
                <a:latin typeface="Open Sans"/>
                <a:ea typeface="Open Sans"/>
                <a:cs typeface="Open Sans"/>
                <a:sym typeface="Open Sans"/>
              </a:rPr>
              <a:t>15 %</a:t>
            </a:r>
            <a:endParaRPr sz="3600" b="1">
              <a:solidFill>
                <a:schemeClr val="dk1"/>
              </a:solidFill>
              <a:latin typeface="Open Sans"/>
              <a:ea typeface="Open Sans"/>
              <a:cs typeface="Open Sans"/>
              <a:sym typeface="Open Sans"/>
            </a:endParaRPr>
          </a:p>
        </p:txBody>
      </p:sp>
      <p:sp>
        <p:nvSpPr>
          <p:cNvPr id="160" name="Google Shape;160;p6"/>
          <p:cNvSpPr txBox="1">
            <a:spLocks noGrp="1"/>
          </p:cNvSpPr>
          <p:nvPr>
            <p:ph type="title"/>
          </p:nvPr>
        </p:nvSpPr>
        <p:spPr>
          <a:xfrm>
            <a:off x="874296" y="84221"/>
            <a:ext cx="10567736" cy="1149264"/>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chemeClr val="accent2"/>
              </a:buClr>
              <a:buSzPts val="3400"/>
              <a:buFont typeface="Inter"/>
              <a:buNone/>
            </a:pPr>
            <a:r>
              <a:rPr lang="sv-SE" dirty="0"/>
              <a:t>Vilken metod har vi använt och vilka har vi lyssnat på?</a:t>
            </a:r>
            <a:endParaRPr dirty="0"/>
          </a:p>
        </p:txBody>
      </p:sp>
    </p:spTree>
    <p:extLst>
      <p:ext uri="{BB962C8B-B14F-4D97-AF65-F5344CB8AC3E}">
        <p14:creationId xmlns:p14="http://schemas.microsoft.com/office/powerpoint/2010/main" val="62568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2" name="Google Shape;152;p5"/>
          <p:cNvSpPr txBox="1">
            <a:spLocks noGrp="1"/>
          </p:cNvSpPr>
          <p:nvPr>
            <p:ph type="title"/>
          </p:nvPr>
        </p:nvSpPr>
        <p:spPr>
          <a:xfrm>
            <a:off x="874296" y="84221"/>
            <a:ext cx="10567736" cy="1149264"/>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chemeClr val="accent2"/>
              </a:buClr>
              <a:buSzPts val="3400"/>
              <a:buFont typeface="Inter"/>
              <a:buNone/>
            </a:pPr>
            <a:r>
              <a:rPr lang="sv-SE"/>
              <a:t>Vad har vi testat?</a:t>
            </a:r>
            <a:endParaRPr/>
          </a:p>
        </p:txBody>
      </p:sp>
      <p:sp>
        <p:nvSpPr>
          <p:cNvPr id="153" name="Google Shape;153;p5"/>
          <p:cNvSpPr txBox="1">
            <a:spLocks noGrp="1"/>
          </p:cNvSpPr>
          <p:nvPr>
            <p:ph type="body" idx="1"/>
          </p:nvPr>
        </p:nvSpPr>
        <p:spPr>
          <a:xfrm>
            <a:off x="922425" y="1693275"/>
            <a:ext cx="5173575" cy="3754500"/>
          </a:xfrm>
          <a:prstGeom prst="rect">
            <a:avLst/>
          </a:prstGeom>
          <a:noFill/>
          <a:ln>
            <a:noFill/>
          </a:ln>
        </p:spPr>
        <p:txBody>
          <a:bodyPr spcFirstLastPara="1" wrap="square" lIns="0" tIns="0" rIns="0" bIns="0" anchor="t" anchorCtr="0">
            <a:noAutofit/>
          </a:bodyPr>
          <a:lstStyle/>
          <a:p>
            <a:pPr marL="0" indent="0">
              <a:spcBef>
                <a:spcPts val="0"/>
              </a:spcBef>
              <a:buFont typeface="Arial" panose="020B0604020202020204" pitchFamily="34" charset="0"/>
              <a:buNone/>
            </a:pPr>
            <a:r>
              <a:rPr lang="sv-SE" b="1" dirty="0"/>
              <a:t>Listvyn</a:t>
            </a:r>
            <a:endParaRPr b="1" dirty="0"/>
          </a:p>
          <a:p>
            <a:pPr marL="0" indent="0">
              <a:spcBef>
                <a:spcPts val="0"/>
              </a:spcBef>
              <a:buFont typeface="Arial" panose="020B0604020202020204" pitchFamily="34" charset="0"/>
              <a:buNone/>
            </a:pPr>
            <a:endParaRPr dirty="0"/>
          </a:p>
          <a:p>
            <a:pPr marL="228600" indent="-228600">
              <a:spcBef>
                <a:spcPts val="0"/>
              </a:spcBef>
            </a:pPr>
            <a:r>
              <a:rPr lang="sv-SE" dirty="0"/>
              <a:t>Arbetssättet i listvyn.</a:t>
            </a:r>
          </a:p>
          <a:p>
            <a:pPr marL="0" indent="0">
              <a:spcBef>
                <a:spcPts val="0"/>
              </a:spcBef>
              <a:buNone/>
            </a:pPr>
            <a:endParaRPr lang="sv-SE" dirty="0"/>
          </a:p>
          <a:p>
            <a:pPr marL="228600" indent="-228600">
              <a:spcBef>
                <a:spcPts val="0"/>
              </a:spcBef>
            </a:pPr>
            <a:r>
              <a:rPr lang="sv-SE" dirty="0"/>
              <a:t>Fördjupning i hur man arbetar med flaggor i listvyn. </a:t>
            </a:r>
          </a:p>
          <a:p>
            <a:pPr marL="0" indent="0">
              <a:spcBef>
                <a:spcPts val="0"/>
              </a:spcBef>
              <a:buFont typeface="Arial" panose="020B0604020202020204" pitchFamily="34" charset="0"/>
              <a:buNone/>
            </a:pPr>
            <a:endParaRPr lang="sv-SE" dirty="0"/>
          </a:p>
          <a:p>
            <a:pPr marL="228600" indent="-228600">
              <a:spcBef>
                <a:spcPts val="0"/>
              </a:spcBef>
              <a:buFont typeface="Arial" panose="020B0604020202020204" pitchFamily="34" charset="0"/>
              <a:buChar char="•"/>
            </a:pPr>
            <a:r>
              <a:rPr lang="sv-SE" dirty="0"/>
              <a:t>Hur ser man på grupperingen av flaggor.</a:t>
            </a:r>
          </a:p>
          <a:p>
            <a:pPr marL="228600" indent="-228600">
              <a:spcBef>
                <a:spcPts val="0"/>
              </a:spcBef>
              <a:buFont typeface="Arial" panose="020B0604020202020204" pitchFamily="34" charset="0"/>
              <a:buChar char="•"/>
            </a:pPr>
            <a:endParaRPr lang="sv-SE" dirty="0"/>
          </a:p>
          <a:p>
            <a:pPr marL="228600" indent="-228600">
              <a:spcBef>
                <a:spcPts val="0"/>
              </a:spcBef>
              <a:buFont typeface="Arial" panose="020B0604020202020204" pitchFamily="34" charset="0"/>
              <a:buChar char="•"/>
            </a:pPr>
            <a:r>
              <a:rPr lang="sv-SE" dirty="0"/>
              <a:t>Tankar kring vårt förslag. </a:t>
            </a:r>
          </a:p>
          <a:p>
            <a:pPr marL="0" lvl="0" indent="0" algn="l">
              <a:spcBef>
                <a:spcPts val="0"/>
              </a:spcBef>
              <a:spcAft>
                <a:spcPts val="0"/>
              </a:spcAft>
              <a:buSzPts val="1800"/>
              <a:buNone/>
            </a:pPr>
            <a:endParaRPr lang="sv-SE" dirty="0">
              <a:solidFill>
                <a:schemeClr val="dk1"/>
              </a:solidFill>
            </a:endParaRPr>
          </a:p>
          <a:p>
            <a:pPr marL="228600" lvl="0" indent="-228600" algn="l">
              <a:spcBef>
                <a:spcPts val="0"/>
              </a:spcBef>
              <a:spcAft>
                <a:spcPts val="0"/>
              </a:spcAft>
              <a:buSzPts val="1800"/>
            </a:pPr>
            <a:endParaRPr lang="sv-SE" dirty="0">
              <a:solidFill>
                <a:schemeClr val="dk1"/>
              </a:solidFill>
            </a:endParaRPr>
          </a:p>
          <a:p>
            <a:pPr marL="0" lvl="0" indent="0" algn="l" rtl="0">
              <a:spcBef>
                <a:spcPts val="0"/>
              </a:spcBef>
              <a:spcAft>
                <a:spcPts val="0"/>
              </a:spcAft>
              <a:buNone/>
            </a:pPr>
            <a:endParaRPr lang="sv-SE" dirty="0">
              <a:solidFill>
                <a:schemeClr val="dk1"/>
              </a:solidFill>
            </a:endParaRPr>
          </a:p>
          <a:p>
            <a:pPr marL="0" lvl="0" indent="0" algn="l" rtl="0">
              <a:spcBef>
                <a:spcPts val="0"/>
              </a:spcBef>
              <a:spcAft>
                <a:spcPts val="0"/>
              </a:spcAft>
              <a:buNone/>
            </a:pPr>
            <a:endParaRPr lang="sv-SE" dirty="0">
              <a:solidFill>
                <a:schemeClr val="dk1"/>
              </a:solidFill>
            </a:endParaRPr>
          </a:p>
          <a:p>
            <a:pPr marL="685800" lvl="0" indent="0" algn="l" rtl="0">
              <a:lnSpc>
                <a:spcPct val="90000"/>
              </a:lnSpc>
              <a:spcBef>
                <a:spcPts val="0"/>
              </a:spcBef>
              <a:spcAft>
                <a:spcPts val="0"/>
              </a:spcAft>
              <a:buSzPts val="1800"/>
              <a:buNone/>
            </a:pPr>
            <a:endParaRPr lang="en-US" dirty="0">
              <a:solidFill>
                <a:srgbClr val="000000"/>
              </a:solidFill>
            </a:endParaRPr>
          </a:p>
          <a:p>
            <a:pPr marL="228600" indent="-114300">
              <a:buNone/>
            </a:pPr>
            <a:endParaRPr lang="en-US" dirty="0">
              <a:solidFill>
                <a:srgbClr val="6A0032"/>
              </a:solidFill>
            </a:endParaRPr>
          </a:p>
        </p:txBody>
      </p:sp>
      <p:sp>
        <p:nvSpPr>
          <p:cNvPr id="154" name="Google Shape;154;p5"/>
          <p:cNvSpPr txBox="1">
            <a:spLocks noGrp="1"/>
          </p:cNvSpPr>
          <p:nvPr>
            <p:ph type="ftr" idx="11"/>
          </p:nvPr>
        </p:nvSpPr>
        <p:spPr>
          <a:xfrm>
            <a:off x="711722" y="6311973"/>
            <a:ext cx="4114800" cy="365125"/>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155" name="Google Shape;155;p5"/>
          <p:cNvSpPr txBox="1">
            <a:spLocks noGrp="1"/>
          </p:cNvSpPr>
          <p:nvPr>
            <p:ph type="sldNum" idx="12"/>
          </p:nvPr>
        </p:nvSpPr>
        <p:spPr>
          <a:xfrm>
            <a:off x="276721" y="6311994"/>
            <a:ext cx="390055"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sv-SE"/>
              <a:t>65</a:t>
            </a:fld>
            <a:endParaRPr/>
          </a:p>
        </p:txBody>
      </p:sp>
      <p:pic>
        <p:nvPicPr>
          <p:cNvPr id="2" name="Bildobjekt 1">
            <a:extLst>
              <a:ext uri="{FF2B5EF4-FFF2-40B4-BE49-F238E27FC236}">
                <a16:creationId xmlns:a16="http://schemas.microsoft.com/office/drawing/2014/main" id="{C111AF2E-F1E0-7447-9DC9-007C3866B8A3}"/>
              </a:ext>
            </a:extLst>
          </p:cNvPr>
          <p:cNvPicPr>
            <a:picLocks noChangeAspect="1"/>
          </p:cNvPicPr>
          <p:nvPr/>
        </p:nvPicPr>
        <p:blipFill>
          <a:blip r:embed="rId3"/>
          <a:stretch>
            <a:fillRect/>
          </a:stretch>
        </p:blipFill>
        <p:spPr>
          <a:xfrm>
            <a:off x="5955518" y="1572362"/>
            <a:ext cx="5989245" cy="3996326"/>
          </a:xfrm>
          <a:prstGeom prst="rect">
            <a:avLst/>
          </a:prstGeom>
        </p:spPr>
      </p:pic>
    </p:spTree>
    <p:extLst>
      <p:ext uri="{BB962C8B-B14F-4D97-AF65-F5344CB8AC3E}">
        <p14:creationId xmlns:p14="http://schemas.microsoft.com/office/powerpoint/2010/main" val="36610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Shape 150"/>
        <p:cNvGrpSpPr/>
        <p:nvPr/>
      </p:nvGrpSpPr>
      <p:grpSpPr>
        <a:xfrm>
          <a:off x="0" y="0"/>
          <a:ext cx="0" cy="0"/>
          <a:chOff x="0" y="0"/>
          <a:chExt cx="0" cy="0"/>
        </a:xfrm>
      </p:grpSpPr>
      <p:sp>
        <p:nvSpPr>
          <p:cNvPr id="152" name="Google Shape;152;p5"/>
          <p:cNvSpPr txBox="1">
            <a:spLocks noGrp="1"/>
          </p:cNvSpPr>
          <p:nvPr>
            <p:ph type="title"/>
          </p:nvPr>
        </p:nvSpPr>
        <p:spPr>
          <a:xfrm>
            <a:off x="874296" y="84221"/>
            <a:ext cx="10567736" cy="1149264"/>
          </a:xfrm>
          <a:prstGeom prst="rect">
            <a:avLst/>
          </a:prstGeom>
          <a:noFill/>
          <a:ln>
            <a:noFill/>
          </a:ln>
        </p:spPr>
        <p:txBody>
          <a:bodyPr spcFirstLastPara="1" wrap="square" lIns="0" tIns="0" rIns="0" bIns="0" anchor="b" anchorCtr="0">
            <a:noAutofit/>
          </a:bodyPr>
          <a:lstStyle/>
          <a:p>
            <a:pPr marL="0" lvl="0" indent="0" algn="l" rtl="0">
              <a:lnSpc>
                <a:spcPct val="90000"/>
              </a:lnSpc>
              <a:spcBef>
                <a:spcPts val="0"/>
              </a:spcBef>
              <a:spcAft>
                <a:spcPts val="0"/>
              </a:spcAft>
              <a:buClr>
                <a:schemeClr val="accent2"/>
              </a:buClr>
              <a:buSzPts val="3400"/>
              <a:buFont typeface="Inter"/>
              <a:buNone/>
            </a:pPr>
            <a:r>
              <a:rPr lang="sv-SE" dirty="0"/>
              <a:t>Vad har vi testat?</a:t>
            </a:r>
            <a:endParaRPr dirty="0"/>
          </a:p>
        </p:txBody>
      </p:sp>
      <p:sp>
        <p:nvSpPr>
          <p:cNvPr id="153" name="Google Shape;153;p5"/>
          <p:cNvSpPr txBox="1">
            <a:spLocks noGrp="1"/>
          </p:cNvSpPr>
          <p:nvPr>
            <p:ph type="body" idx="1"/>
          </p:nvPr>
        </p:nvSpPr>
        <p:spPr>
          <a:xfrm>
            <a:off x="922425" y="1693275"/>
            <a:ext cx="4735425" cy="3754500"/>
          </a:xfrm>
          <a:prstGeom prst="rect">
            <a:avLst/>
          </a:prstGeom>
          <a:noFill/>
          <a:ln>
            <a:noFill/>
          </a:ln>
        </p:spPr>
        <p:txBody>
          <a:bodyPr spcFirstLastPara="1" wrap="square" lIns="0" tIns="0" rIns="0" bIns="0" anchor="t" anchorCtr="0">
            <a:noAutofit/>
          </a:bodyPr>
          <a:lstStyle/>
          <a:p>
            <a:pPr marL="0" lvl="0" indent="0">
              <a:lnSpc>
                <a:spcPct val="90000"/>
              </a:lnSpc>
              <a:spcBef>
                <a:spcPts val="0"/>
              </a:spcBef>
              <a:spcAft>
                <a:spcPts val="0"/>
              </a:spcAft>
              <a:buSzPts val="1800"/>
              <a:buNone/>
            </a:pPr>
            <a:r>
              <a:rPr lang="sv-SE" b="1" dirty="0"/>
              <a:t>Inne i en specifik invånares moment</a:t>
            </a:r>
            <a:endParaRPr b="1" dirty="0"/>
          </a:p>
          <a:p>
            <a:pPr marL="0" lvl="0" indent="0">
              <a:lnSpc>
                <a:spcPct val="90000"/>
              </a:lnSpc>
              <a:spcBef>
                <a:spcPts val="0"/>
              </a:spcBef>
              <a:spcAft>
                <a:spcPts val="0"/>
              </a:spcAft>
              <a:buSzPts val="1800"/>
              <a:buNone/>
            </a:pPr>
            <a:endParaRPr dirty="0"/>
          </a:p>
          <a:p>
            <a:pPr marL="228600" lvl="0" indent="-228600">
              <a:spcBef>
                <a:spcPts val="0"/>
              </a:spcBef>
              <a:spcAft>
                <a:spcPts val="0"/>
              </a:spcAft>
              <a:buSzPts val="1800"/>
              <a:buChar char="•"/>
            </a:pPr>
            <a:r>
              <a:rPr lang="sv-SE" dirty="0"/>
              <a:t>Generellt om arbetssätt i denna vy.</a:t>
            </a:r>
          </a:p>
          <a:p>
            <a:pPr marL="0" lvl="0" indent="0">
              <a:spcBef>
                <a:spcPts val="0"/>
              </a:spcBef>
              <a:spcAft>
                <a:spcPts val="0"/>
              </a:spcAft>
              <a:buSzPts val="1800"/>
              <a:buNone/>
            </a:pPr>
            <a:endParaRPr lang="sv-SE" dirty="0"/>
          </a:p>
          <a:p>
            <a:pPr marL="228600" lvl="0" indent="-228600">
              <a:spcBef>
                <a:spcPts val="0"/>
              </a:spcBef>
              <a:spcAft>
                <a:spcPts val="0"/>
              </a:spcAft>
              <a:buSzPts val="1800"/>
              <a:buChar char="•"/>
            </a:pPr>
            <a:r>
              <a:rPr lang="sv-SE" dirty="0"/>
              <a:t>Fördjupning i hanterandet av formulärsflaggorna ”Inväntar granskning”, ”Olästa formulär”, och ”Mätbatterier”.</a:t>
            </a:r>
            <a:br>
              <a:rPr lang="sv-SE" dirty="0"/>
            </a:br>
            <a:endParaRPr lang="sv-SE" dirty="0"/>
          </a:p>
          <a:p>
            <a:pPr marL="228600" lvl="0" indent="-228600">
              <a:spcBef>
                <a:spcPts val="0"/>
              </a:spcBef>
              <a:spcAft>
                <a:spcPts val="0"/>
              </a:spcAft>
              <a:buSzPts val="1800"/>
              <a:buChar char="•"/>
            </a:pPr>
            <a:r>
              <a:rPr lang="sv-SE" dirty="0"/>
              <a:t>Tankar kring vårat förslag.</a:t>
            </a:r>
          </a:p>
          <a:p>
            <a:pPr marL="0" lvl="0" indent="0" algn="l" rtl="0">
              <a:spcBef>
                <a:spcPts val="0"/>
              </a:spcBef>
              <a:spcAft>
                <a:spcPts val="0"/>
              </a:spcAft>
              <a:buNone/>
            </a:pPr>
            <a:endParaRPr dirty="0">
              <a:solidFill>
                <a:schemeClr val="dk1"/>
              </a:solidFill>
            </a:endParaRPr>
          </a:p>
          <a:p>
            <a:pPr marL="685800" lvl="0" indent="0" algn="l" rtl="0">
              <a:spcBef>
                <a:spcPts val="0"/>
              </a:spcBef>
              <a:spcAft>
                <a:spcPts val="0"/>
              </a:spcAft>
              <a:buNone/>
            </a:pPr>
            <a:endParaRPr dirty="0">
              <a:solidFill>
                <a:schemeClr val="dk1"/>
              </a:solidFill>
            </a:endParaRPr>
          </a:p>
          <a:p>
            <a:pPr marL="228600" lvl="0" indent="-114300" algn="l" rtl="0">
              <a:lnSpc>
                <a:spcPct val="90000"/>
              </a:lnSpc>
              <a:spcBef>
                <a:spcPts val="1000"/>
              </a:spcBef>
              <a:spcAft>
                <a:spcPts val="0"/>
              </a:spcAft>
              <a:buSzPts val="1800"/>
              <a:buNone/>
            </a:pPr>
            <a:endParaRPr dirty="0"/>
          </a:p>
        </p:txBody>
      </p:sp>
      <p:sp>
        <p:nvSpPr>
          <p:cNvPr id="154" name="Google Shape;154;p5"/>
          <p:cNvSpPr txBox="1">
            <a:spLocks noGrp="1"/>
          </p:cNvSpPr>
          <p:nvPr>
            <p:ph type="ftr" idx="11"/>
          </p:nvPr>
        </p:nvSpPr>
        <p:spPr>
          <a:xfrm>
            <a:off x="711722" y="6311973"/>
            <a:ext cx="4114800" cy="365125"/>
          </a:xfrm>
          <a:prstGeom prst="rect">
            <a:avLst/>
          </a:prstGeom>
          <a:noFill/>
          <a:ln>
            <a:noFill/>
          </a:ln>
        </p:spPr>
        <p:txBody>
          <a:bodyPr spcFirstLastPara="1" wrap="square" lIns="0" tIns="0" rIns="0" bIns="0" anchor="ctr" anchorCtr="0">
            <a:noAutofit/>
          </a:bodyPr>
          <a:lstStyle/>
          <a:p>
            <a:pPr marL="0" lvl="0" indent="0" algn="l" rtl="0">
              <a:spcBef>
                <a:spcPts val="0"/>
              </a:spcBef>
              <a:spcAft>
                <a:spcPts val="0"/>
              </a:spcAft>
              <a:buNone/>
            </a:pPr>
            <a:endParaRPr/>
          </a:p>
        </p:txBody>
      </p:sp>
      <p:sp>
        <p:nvSpPr>
          <p:cNvPr id="155" name="Google Shape;155;p5"/>
          <p:cNvSpPr txBox="1">
            <a:spLocks noGrp="1"/>
          </p:cNvSpPr>
          <p:nvPr>
            <p:ph type="sldNum" idx="12"/>
          </p:nvPr>
        </p:nvSpPr>
        <p:spPr>
          <a:xfrm>
            <a:off x="276721" y="6311994"/>
            <a:ext cx="390055" cy="365125"/>
          </a:xfrm>
          <a:prstGeom prst="rect">
            <a:avLst/>
          </a:prstGeom>
          <a:noFill/>
          <a:ln>
            <a:noFill/>
          </a:ln>
        </p:spPr>
        <p:txBody>
          <a:bodyPr spcFirstLastPara="1" wrap="square" lIns="91425" tIns="45700" rIns="91425" bIns="45700" anchor="ctr" anchorCtr="0">
            <a:noAutofit/>
          </a:bodyPr>
          <a:lstStyle/>
          <a:p>
            <a:pPr marL="0" lvl="0" indent="0" algn="r" rtl="0">
              <a:spcBef>
                <a:spcPts val="0"/>
              </a:spcBef>
              <a:spcAft>
                <a:spcPts val="0"/>
              </a:spcAft>
              <a:buNone/>
            </a:pPr>
            <a:fld id="{00000000-1234-1234-1234-123412341234}" type="slidenum">
              <a:rPr lang="sv-SE"/>
              <a:t>66</a:t>
            </a:fld>
            <a:endParaRPr/>
          </a:p>
        </p:txBody>
      </p:sp>
      <p:pic>
        <p:nvPicPr>
          <p:cNvPr id="2" name="Bildobjekt 1">
            <a:extLst>
              <a:ext uri="{FF2B5EF4-FFF2-40B4-BE49-F238E27FC236}">
                <a16:creationId xmlns:a16="http://schemas.microsoft.com/office/drawing/2014/main" id="{EBCD5EC7-34FB-0741-9EEC-2B51084F4FCE}"/>
              </a:ext>
            </a:extLst>
          </p:cNvPr>
          <p:cNvPicPr>
            <a:picLocks noChangeAspect="1"/>
          </p:cNvPicPr>
          <p:nvPr/>
        </p:nvPicPr>
        <p:blipFill>
          <a:blip r:embed="rId3"/>
          <a:stretch>
            <a:fillRect/>
          </a:stretch>
        </p:blipFill>
        <p:spPr>
          <a:xfrm>
            <a:off x="5914068" y="1580998"/>
            <a:ext cx="6077954" cy="3137758"/>
          </a:xfrm>
          <a:prstGeom prst="rect">
            <a:avLst/>
          </a:prstGeom>
        </p:spPr>
      </p:pic>
    </p:spTree>
    <p:extLst>
      <p:ext uri="{BB962C8B-B14F-4D97-AF65-F5344CB8AC3E}">
        <p14:creationId xmlns:p14="http://schemas.microsoft.com/office/powerpoint/2010/main" val="264621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3" name="textruta 2">
            <a:extLst>
              <a:ext uri="{FF2B5EF4-FFF2-40B4-BE49-F238E27FC236}">
                <a16:creationId xmlns:a16="http://schemas.microsoft.com/office/drawing/2014/main" id="{2696F7AE-D81B-BF48-ABF0-7D7AEB5C04A5}"/>
              </a:ext>
            </a:extLst>
          </p:cNvPr>
          <p:cNvSpPr txBox="1"/>
          <p:nvPr/>
        </p:nvSpPr>
        <p:spPr>
          <a:xfrm>
            <a:off x="5927505" y="1139579"/>
            <a:ext cx="4996070" cy="2862322"/>
          </a:xfrm>
          <a:prstGeom prst="rect">
            <a:avLst/>
          </a:prstGeom>
          <a:noFill/>
        </p:spPr>
        <p:txBody>
          <a:bodyPr wrap="square" rtlCol="0">
            <a:spAutoFit/>
          </a:bodyPr>
          <a:lstStyle/>
          <a:p>
            <a:pPr marL="285750" indent="-285750">
              <a:buFont typeface="Arial" panose="020B0604020202020204" pitchFamily="34" charset="0"/>
              <a:buChar char="•"/>
            </a:pPr>
            <a:r>
              <a:rPr lang="sv-SE" dirty="0">
                <a:solidFill>
                  <a:schemeClr val="accent2"/>
                </a:solidFill>
              </a:rPr>
              <a:t>Prioriterade flaggor är viktigast, dessa kollar man alltid först.</a:t>
            </a:r>
          </a:p>
          <a:p>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Meddelanden är näst viktigast.</a:t>
            </a:r>
          </a:p>
          <a:p>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Övriga flaggor har inte lika hög prioritering.</a:t>
            </a:r>
          </a:p>
          <a:p>
            <a:pPr marL="285750" indent="-285750">
              <a:buFont typeface="Arial" panose="020B0604020202020204" pitchFamily="34" charset="0"/>
              <a:buChar char="•"/>
            </a:pPr>
            <a:endParaRPr lang="sv-SE" dirty="0">
              <a:solidFill>
                <a:schemeClr val="accent2"/>
              </a:solidFill>
            </a:endParaRPr>
          </a:p>
          <a:p>
            <a:pPr marL="285750" indent="-285750">
              <a:buFont typeface="Arial" panose="020B0604020202020204" pitchFamily="34" charset="0"/>
              <a:buChar char="•"/>
            </a:pPr>
            <a:r>
              <a:rPr lang="sv-SE" b="1" dirty="0">
                <a:solidFill>
                  <a:schemeClr val="accent2"/>
                </a:solidFill>
              </a:rPr>
              <a:t>Respondenterna kommer dock från samma typ av verksamhet.</a:t>
            </a:r>
          </a:p>
        </p:txBody>
      </p:sp>
      <p:sp>
        <p:nvSpPr>
          <p:cNvPr id="7" name="Google Shape;291;gf21c912b19_2_59">
            <a:extLst>
              <a:ext uri="{FF2B5EF4-FFF2-40B4-BE49-F238E27FC236}">
                <a16:creationId xmlns:a16="http://schemas.microsoft.com/office/drawing/2014/main" id="{0DE6AC7E-58BC-3A40-BBD9-936D9A24FAF5}"/>
              </a:ext>
            </a:extLst>
          </p:cNvPr>
          <p:cNvSpPr/>
          <p:nvPr/>
        </p:nvSpPr>
        <p:spPr>
          <a:xfrm flipH="1">
            <a:off x="5927504" y="4287260"/>
            <a:ext cx="4996071" cy="2062805"/>
          </a:xfrm>
          <a:prstGeom prst="wedgeRoundRectCallout">
            <a:avLst>
              <a:gd name="adj1" fmla="val -42637"/>
              <a:gd name="adj2" fmla="val 72859"/>
              <a:gd name="adj3" fmla="val 0"/>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algn="ctr"/>
            <a:r>
              <a:rPr lang="sv-SE" sz="2000">
                <a:solidFill>
                  <a:schemeClr val="dk1"/>
                </a:solidFill>
                <a:latin typeface="Open Sans"/>
                <a:ea typeface="Open Sans"/>
                <a:cs typeface="Open Sans"/>
                <a:sym typeface="Open Sans"/>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1"/>
                  </a:ext>
                </a:extLst>
              </a:rPr>
              <a:t>"Vi har hållit på mycket med flaggor för att få det att funka genom åren, men vi har landat i att det är just meddelandeflaggor och prioriterade flaggor är de viktigaste."</a:t>
            </a:r>
          </a:p>
          <a:p>
            <a:pPr algn="ctr"/>
            <a:endParaRPr lang="sv-SE"/>
          </a:p>
        </p:txBody>
      </p:sp>
      <p:sp>
        <p:nvSpPr>
          <p:cNvPr id="11" name="Google Shape;152;p5">
            <a:extLst>
              <a:ext uri="{FF2B5EF4-FFF2-40B4-BE49-F238E27FC236}">
                <a16:creationId xmlns:a16="http://schemas.microsoft.com/office/drawing/2014/main" id="{F231958F-2C4E-47FC-A99C-3BA0A9C186FF}"/>
              </a:ext>
            </a:extLst>
          </p:cNvPr>
          <p:cNvSpPr txBox="1">
            <a:spLocks/>
          </p:cNvSpPr>
          <p:nvPr/>
        </p:nvSpPr>
        <p:spPr>
          <a:xfrm>
            <a:off x="5284722" y="-247568"/>
            <a:ext cx="6907278" cy="1244468"/>
          </a:xfrm>
          <a:prstGeom prst="rect">
            <a:avLst/>
          </a:prstGeom>
          <a:noFill/>
          <a:ln>
            <a:noFill/>
          </a:ln>
        </p:spPr>
        <p:txBody>
          <a:bodyPr spcFirstLastPara="1" vert="horz" wrap="square" lIns="0" tIns="0" rIns="0" bIns="0" rtlCol="0" anchor="b" anchorCtr="0">
            <a:noAutofit/>
          </a:bodyPr>
          <a:lstStyle>
            <a:lvl1pPr lvl="0" algn="l" defTabSz="914400" rtl="0" eaLnBrk="1" latinLnBrk="0" hangingPunct="1">
              <a:lnSpc>
                <a:spcPct val="90000"/>
              </a:lnSpc>
              <a:spcBef>
                <a:spcPts val="0"/>
              </a:spcBef>
              <a:spcAft>
                <a:spcPts val="0"/>
              </a:spcAft>
              <a:buClr>
                <a:schemeClr val="accent2"/>
              </a:buClr>
              <a:buSzPts val="3400"/>
              <a:buFont typeface="Inter"/>
              <a:buNone/>
              <a:defRPr sz="3400" b="1" kern="1200" spc="-150">
                <a:solidFill>
                  <a:schemeClr val="accent2"/>
                </a:solidFill>
                <a:latin typeface="+mj-lt"/>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sv-SE" dirty="0"/>
              <a:t>Behandlares prioritering av flaggor i listvyn</a:t>
            </a:r>
          </a:p>
        </p:txBody>
      </p:sp>
      <p:pic>
        <p:nvPicPr>
          <p:cNvPr id="14" name="Google Shape;296;gf21c912b19_0_0">
            <a:extLst>
              <a:ext uri="{FF2B5EF4-FFF2-40B4-BE49-F238E27FC236}">
                <a16:creationId xmlns:a16="http://schemas.microsoft.com/office/drawing/2014/main" id="{B2821A97-9F95-461F-8E12-B06100416391}"/>
              </a:ext>
            </a:extLst>
          </p:cNvPr>
          <p:cNvPicPr preferRelativeResize="0"/>
          <p:nvPr/>
        </p:nvPicPr>
        <p:blipFill rotWithShape="1">
          <a:blip r:embed="rId3">
            <a:alphaModFix/>
          </a:blip>
          <a:srcRect l="1972" t="15495" r="1972" b="9248"/>
          <a:stretch/>
        </p:blipFill>
        <p:spPr>
          <a:xfrm>
            <a:off x="0" y="0"/>
            <a:ext cx="5178055" cy="6112780"/>
          </a:xfrm>
          <a:prstGeom prst="rect">
            <a:avLst/>
          </a:prstGeom>
          <a:noFill/>
          <a:ln>
            <a:noFill/>
          </a:ln>
        </p:spPr>
      </p:pic>
    </p:spTree>
    <p:extLst>
      <p:ext uri="{BB962C8B-B14F-4D97-AF65-F5344CB8AC3E}">
        <p14:creationId xmlns:p14="http://schemas.microsoft.com/office/powerpoint/2010/main" val="866322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gedcb3ed9b3_0_8"/>
          <p:cNvSpPr txBox="1">
            <a:spLocks noGrp="1"/>
          </p:cNvSpPr>
          <p:nvPr>
            <p:ph type="title"/>
          </p:nvPr>
        </p:nvSpPr>
        <p:spPr>
          <a:prstGeom prst="rect">
            <a:avLst/>
          </a:prstGeom>
          <a:noFill/>
          <a:ln>
            <a:noFill/>
          </a:ln>
        </p:spPr>
        <p:txBody>
          <a:bodyPr spcFirstLastPara="1" wrap="square" lIns="0" tIns="0" rIns="0" bIns="0" anchor="t" anchorCtr="0">
            <a:normAutofit/>
          </a:bodyPr>
          <a:lstStyle/>
          <a:p>
            <a:pPr marL="0" lvl="0" indent="0" algn="l" rtl="0">
              <a:lnSpc>
                <a:spcPct val="90000"/>
              </a:lnSpc>
              <a:spcBef>
                <a:spcPts val="0"/>
              </a:spcBef>
              <a:spcAft>
                <a:spcPts val="0"/>
              </a:spcAft>
              <a:buClr>
                <a:schemeClr val="accent2"/>
              </a:buClr>
              <a:buSzPct val="105076"/>
              <a:buFont typeface="Inter"/>
              <a:buNone/>
            </a:pPr>
            <a:r>
              <a:rPr lang="sv-SE" sz="3940"/>
              <a:t>Mål med arbetsdagen</a:t>
            </a:r>
            <a:endParaRPr lang="sv-SE" sz="2273" b="0">
              <a:solidFill>
                <a:schemeClr val="dk1"/>
              </a:solidFill>
            </a:endParaRPr>
          </a:p>
          <a:p>
            <a:pPr marL="457200" lvl="0" indent="0" algn="l" rtl="0">
              <a:lnSpc>
                <a:spcPct val="90000"/>
              </a:lnSpc>
              <a:spcBef>
                <a:spcPts val="0"/>
              </a:spcBef>
              <a:spcAft>
                <a:spcPts val="0"/>
              </a:spcAft>
              <a:buNone/>
            </a:pPr>
            <a:endParaRPr lang="sv-SE" sz="2273" b="0">
              <a:solidFill>
                <a:schemeClr val="dk1"/>
              </a:solidFill>
            </a:endParaRPr>
          </a:p>
        </p:txBody>
      </p:sp>
      <p:sp>
        <p:nvSpPr>
          <p:cNvPr id="3" name="textruta 2">
            <a:extLst>
              <a:ext uri="{FF2B5EF4-FFF2-40B4-BE49-F238E27FC236}">
                <a16:creationId xmlns:a16="http://schemas.microsoft.com/office/drawing/2014/main" id="{2696F7AE-D81B-BF48-ABF0-7D7AEB5C04A5}"/>
              </a:ext>
            </a:extLst>
          </p:cNvPr>
          <p:cNvSpPr txBox="1"/>
          <p:nvPr/>
        </p:nvSpPr>
        <p:spPr>
          <a:xfrm>
            <a:off x="5806977" y="1499530"/>
            <a:ext cx="4996070" cy="2585323"/>
          </a:xfrm>
          <a:prstGeom prst="rect">
            <a:avLst/>
          </a:prstGeom>
          <a:noFill/>
        </p:spPr>
        <p:txBody>
          <a:bodyPr wrap="square" rtlCol="0">
            <a:spAutoFit/>
          </a:bodyPr>
          <a:lstStyle/>
          <a:p>
            <a:pPr marL="285750" indent="-285750">
              <a:buFont typeface="Arial" panose="020B0604020202020204" pitchFamily="34" charset="0"/>
              <a:buChar char="•"/>
            </a:pPr>
            <a:r>
              <a:rPr lang="sv-SE" dirty="0">
                <a:solidFill>
                  <a:schemeClr val="accent2"/>
                </a:solidFill>
              </a:rPr>
              <a:t>Scanna av listvyn för att få en överblick och kunna planera.</a:t>
            </a:r>
          </a:p>
          <a:p>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Hantera prioriterade flaggor.</a:t>
            </a:r>
          </a:p>
          <a:p>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Svara på meddelanden.</a:t>
            </a:r>
          </a:p>
          <a:p>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Hantera övriga flaggor som formulär, besvarade mätbatterier och så vidare.</a:t>
            </a:r>
          </a:p>
        </p:txBody>
      </p:sp>
      <p:sp>
        <p:nvSpPr>
          <p:cNvPr id="7" name="Google Shape;291;gf21c912b19_2_59">
            <a:extLst>
              <a:ext uri="{FF2B5EF4-FFF2-40B4-BE49-F238E27FC236}">
                <a16:creationId xmlns:a16="http://schemas.microsoft.com/office/drawing/2014/main" id="{0DE6AC7E-58BC-3A40-BBD9-936D9A24FAF5}"/>
              </a:ext>
            </a:extLst>
          </p:cNvPr>
          <p:cNvSpPr/>
          <p:nvPr/>
        </p:nvSpPr>
        <p:spPr>
          <a:xfrm flipH="1">
            <a:off x="7475836" y="4454074"/>
            <a:ext cx="3742055" cy="1513219"/>
          </a:xfrm>
          <a:prstGeom prst="wedgeRoundRectCallout">
            <a:avLst>
              <a:gd name="adj1" fmla="val -42637"/>
              <a:gd name="adj2" fmla="val 72859"/>
              <a:gd name="adj3" fmla="val 0"/>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algn="ctr"/>
            <a:r>
              <a:rPr lang="sv-SE" sz="2000">
                <a:solidFill>
                  <a:schemeClr val="dk1"/>
                </a:solidFill>
                <a:latin typeface="Open Sans"/>
                <a:ea typeface="Open Sans"/>
                <a:cs typeface="Open Sans"/>
                <a:sym typeface="Open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
                  </a:ext>
                </a:extLst>
              </a:rPr>
              <a:t>"Jag gillar att rensa upp i listan, målet är att inte ha några notiser alls" </a:t>
            </a:r>
            <a:endParaRPr lang="sv-SE"/>
          </a:p>
        </p:txBody>
      </p:sp>
      <p:pic>
        <p:nvPicPr>
          <p:cNvPr id="5124" name="Picture 4" descr="4,531 3d Bullseye Stock Photos, Pictures &amp; Royalty-Free Images - iStock">
            <a:extLst>
              <a:ext uri="{FF2B5EF4-FFF2-40B4-BE49-F238E27FC236}">
                <a16:creationId xmlns:a16="http://schemas.microsoft.com/office/drawing/2014/main" id="{0D1D1894-9E63-1B4C-83F8-A521D172821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1324" t="2182" r="10102" b="-2316"/>
          <a:stretch/>
        </p:blipFill>
        <p:spPr bwMode="auto">
          <a:xfrm>
            <a:off x="0" y="1"/>
            <a:ext cx="5203596" cy="6250780"/>
          </a:xfrm>
          <a:prstGeom prst="rect">
            <a:avLst/>
          </a:prstGeom>
          <a:noFill/>
          <a:extLst>
            <a:ext uri="{909E8E84-426E-40DD-AFC4-6F175D3DCCD1}">
              <a14:hiddenFill xmlns:a14="http://schemas.microsoft.com/office/drawing/2010/main">
                <a:solidFill>
                  <a:srgbClr val="FFFFFF"/>
                </a:solidFill>
              </a14:hiddenFill>
            </a:ext>
          </a:extLst>
        </p:spPr>
      </p:pic>
      <p:sp>
        <p:nvSpPr>
          <p:cNvPr id="9" name="Google Shape;152;p5">
            <a:extLst>
              <a:ext uri="{FF2B5EF4-FFF2-40B4-BE49-F238E27FC236}">
                <a16:creationId xmlns:a16="http://schemas.microsoft.com/office/drawing/2014/main" id="{C7F0A9AE-9E9C-466E-9CAC-BB3BC7C8EDFD}"/>
              </a:ext>
            </a:extLst>
          </p:cNvPr>
          <p:cNvSpPr txBox="1">
            <a:spLocks/>
          </p:cNvSpPr>
          <p:nvPr/>
        </p:nvSpPr>
        <p:spPr>
          <a:xfrm>
            <a:off x="4544145" y="0"/>
            <a:ext cx="7546255" cy="1149264"/>
          </a:xfrm>
          <a:prstGeom prst="rect">
            <a:avLst/>
          </a:prstGeom>
          <a:noFill/>
          <a:ln>
            <a:noFill/>
          </a:ln>
        </p:spPr>
        <p:txBody>
          <a:bodyPr spcFirstLastPara="1" vert="horz" wrap="square" lIns="0" tIns="0" rIns="0" bIns="0" rtlCol="0" anchor="b" anchorCtr="0">
            <a:noAutofit/>
          </a:bodyPr>
          <a:lstStyle>
            <a:lvl1pPr lvl="0" algn="l" defTabSz="914400" rtl="0" eaLnBrk="1" latinLnBrk="0" hangingPunct="1">
              <a:lnSpc>
                <a:spcPct val="90000"/>
              </a:lnSpc>
              <a:spcBef>
                <a:spcPts val="0"/>
              </a:spcBef>
              <a:spcAft>
                <a:spcPts val="0"/>
              </a:spcAft>
              <a:buClr>
                <a:schemeClr val="accent2"/>
              </a:buClr>
              <a:buSzPts val="3400"/>
              <a:buFont typeface="Inter"/>
              <a:buNone/>
              <a:defRPr sz="3400" b="1" kern="1200" spc="-150">
                <a:solidFill>
                  <a:schemeClr val="accent2"/>
                </a:solidFill>
                <a:latin typeface="+mj-lt"/>
                <a:ea typeface="+mj-ea"/>
                <a:cs typeface="+mj-c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sv-SE" dirty="0"/>
              <a:t>Behandlares arbetssätt i en invånare moment</a:t>
            </a:r>
          </a:p>
        </p:txBody>
      </p:sp>
    </p:spTree>
    <p:extLst>
      <p:ext uri="{BB962C8B-B14F-4D97-AF65-F5344CB8AC3E}">
        <p14:creationId xmlns:p14="http://schemas.microsoft.com/office/powerpoint/2010/main" val="3241257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gedcb3ed9b3_0_8"/>
          <p:cNvSpPr txBox="1">
            <a:spLocks noGrp="1"/>
          </p:cNvSpPr>
          <p:nvPr>
            <p:ph type="title"/>
          </p:nvPr>
        </p:nvSpPr>
        <p:spPr>
          <a:xfrm>
            <a:off x="4539842" y="451880"/>
            <a:ext cx="7029450" cy="1149264"/>
          </a:xfrm>
          <a:prstGeom prst="rect">
            <a:avLst/>
          </a:prstGeom>
          <a:noFill/>
          <a:ln>
            <a:noFill/>
          </a:ln>
        </p:spPr>
        <p:txBody>
          <a:bodyPr spcFirstLastPara="1" wrap="square" lIns="0" tIns="0" rIns="0" bIns="0" anchor="t" anchorCtr="0">
            <a:normAutofit fontScale="90000"/>
          </a:bodyPr>
          <a:lstStyle/>
          <a:p>
            <a:pPr marL="0" lvl="0" indent="0" rtl="0">
              <a:lnSpc>
                <a:spcPct val="90000"/>
              </a:lnSpc>
              <a:spcBef>
                <a:spcPts val="0"/>
              </a:spcBef>
              <a:spcAft>
                <a:spcPts val="0"/>
              </a:spcAft>
              <a:buClr>
                <a:schemeClr val="accent2"/>
              </a:buClr>
              <a:buSzPct val="105076"/>
              <a:buFont typeface="Inter"/>
              <a:buNone/>
            </a:pPr>
            <a:r>
              <a:rPr lang="sv-SE" sz="3940" dirty="0"/>
              <a:t>Respondenternas respons på vårt förslag</a:t>
            </a:r>
            <a:br>
              <a:rPr lang="sv-SE" sz="2273" b="0" dirty="0">
                <a:solidFill>
                  <a:schemeClr val="dk1"/>
                </a:solidFill>
              </a:rPr>
            </a:br>
            <a:br>
              <a:rPr lang="sv-SE" sz="2273" b="0" dirty="0">
                <a:solidFill>
                  <a:schemeClr val="dk1"/>
                </a:solidFill>
              </a:rPr>
            </a:br>
            <a:endParaRPr lang="sv-SE" sz="2273" b="0" dirty="0">
              <a:solidFill>
                <a:schemeClr val="dk1"/>
              </a:solidFill>
            </a:endParaRPr>
          </a:p>
          <a:p>
            <a:pPr marL="457200" lvl="0" indent="0" rtl="0">
              <a:lnSpc>
                <a:spcPct val="90000"/>
              </a:lnSpc>
              <a:spcBef>
                <a:spcPts val="0"/>
              </a:spcBef>
              <a:spcAft>
                <a:spcPts val="0"/>
              </a:spcAft>
              <a:buNone/>
            </a:pPr>
            <a:endParaRPr lang="sv-SE" sz="2273" b="0" dirty="0">
              <a:solidFill>
                <a:schemeClr val="dk1"/>
              </a:solidFill>
            </a:endParaRPr>
          </a:p>
        </p:txBody>
      </p:sp>
      <p:sp>
        <p:nvSpPr>
          <p:cNvPr id="9" name="textruta 8">
            <a:extLst>
              <a:ext uri="{FF2B5EF4-FFF2-40B4-BE49-F238E27FC236}">
                <a16:creationId xmlns:a16="http://schemas.microsoft.com/office/drawing/2014/main" id="{CC972590-87A4-2344-AF0F-45E6D96CE89A}"/>
              </a:ext>
            </a:extLst>
          </p:cNvPr>
          <p:cNvSpPr txBox="1"/>
          <p:nvPr/>
        </p:nvSpPr>
        <p:spPr>
          <a:xfrm>
            <a:off x="5180866" y="1601144"/>
            <a:ext cx="5747401" cy="4524315"/>
          </a:xfrm>
          <a:prstGeom prst="rect">
            <a:avLst/>
          </a:prstGeom>
          <a:noFill/>
        </p:spPr>
        <p:txBody>
          <a:bodyPr wrap="square" rtlCol="0">
            <a:spAutoFit/>
          </a:bodyPr>
          <a:lstStyle/>
          <a:p>
            <a:pPr marL="285750" indent="-285750">
              <a:buFont typeface="Arial" panose="020B0604020202020204" pitchFamily="34" charset="0"/>
              <a:buChar char="•"/>
            </a:pPr>
            <a:r>
              <a:rPr lang="sv-SE" dirty="0">
                <a:solidFill>
                  <a:schemeClr val="accent2"/>
                </a:solidFill>
              </a:rPr>
              <a:t>Positivt inställda till vårt förslag.</a:t>
            </a:r>
          </a:p>
          <a:p>
            <a:pPr marL="742950" lvl="1" indent="-285750">
              <a:buFont typeface="Arial" panose="020B0604020202020204" pitchFamily="34" charset="0"/>
              <a:buChar char="•"/>
            </a:pPr>
            <a:r>
              <a:rPr lang="sv-SE" dirty="0">
                <a:solidFill>
                  <a:schemeClr val="accent2"/>
                </a:solidFill>
              </a:rPr>
              <a:t>Respondenterna tycker att nya listvyn är tydligare.</a:t>
            </a:r>
          </a:p>
          <a:p>
            <a:pPr marL="742950" lvl="1" indent="-285750">
              <a:buFont typeface="Arial" panose="020B0604020202020204" pitchFamily="34" charset="0"/>
              <a:buChar char="•"/>
            </a:pPr>
            <a:r>
              <a:rPr lang="sv-SE" dirty="0">
                <a:solidFill>
                  <a:schemeClr val="accent2"/>
                </a:solidFill>
              </a:rPr>
              <a:t>Ses som positivt att visa antalet flaggor på alla nivåer.</a:t>
            </a:r>
          </a:p>
          <a:p>
            <a:pPr marL="285750" indent="-285750">
              <a:buFont typeface="Arial" panose="020B0604020202020204" pitchFamily="34" charset="0"/>
              <a:buChar char="•"/>
            </a:pPr>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Kommenterade att det blir lite mer </a:t>
            </a:r>
            <a:r>
              <a:rPr lang="sv-SE" dirty="0" err="1">
                <a:solidFill>
                  <a:schemeClr val="accent2"/>
                </a:solidFill>
              </a:rPr>
              <a:t>scroll</a:t>
            </a:r>
            <a:r>
              <a:rPr lang="sv-SE" dirty="0">
                <a:solidFill>
                  <a:schemeClr val="accent2"/>
                </a:solidFill>
              </a:rPr>
              <a:t> men det uppskattades informationen är tydligare.</a:t>
            </a:r>
          </a:p>
          <a:p>
            <a:pPr marL="285750" indent="-285750">
              <a:buFont typeface="Arial" panose="020B0604020202020204" pitchFamily="34" charset="0"/>
              <a:buChar char="•"/>
            </a:pPr>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Uppskattade möjligheten att öppna och stänga ”Hantera händelser”.</a:t>
            </a:r>
          </a:p>
          <a:p>
            <a:pPr marL="285750" indent="-285750">
              <a:buFont typeface="Arial" panose="020B0604020202020204" pitchFamily="34" charset="0"/>
              <a:buChar char="•"/>
            </a:pPr>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Lite problem att förstå flaggorna utan ikoner i invånares moment. </a:t>
            </a:r>
            <a:br>
              <a:rPr lang="sv-SE" dirty="0">
                <a:solidFill>
                  <a:schemeClr val="accent2"/>
                </a:solidFill>
              </a:rPr>
            </a:br>
            <a:endParaRPr lang="sv-SE" dirty="0">
              <a:solidFill>
                <a:schemeClr val="accent2"/>
              </a:solidFill>
            </a:endParaRPr>
          </a:p>
          <a:p>
            <a:endParaRPr lang="sv-SE" dirty="0"/>
          </a:p>
        </p:txBody>
      </p:sp>
      <p:pic>
        <p:nvPicPr>
          <p:cNvPr id="5" name="Bildobjekt 4" descr="En bild som visar himmel, utomhus, solnedgång, ljus&#10;&#10;Automatiskt genererad beskrivning">
            <a:extLst>
              <a:ext uri="{FF2B5EF4-FFF2-40B4-BE49-F238E27FC236}">
                <a16:creationId xmlns:a16="http://schemas.microsoft.com/office/drawing/2014/main" id="{A55A091C-29FE-4FD4-B567-6884F7515A1D}"/>
              </a:ext>
            </a:extLst>
          </p:cNvPr>
          <p:cNvPicPr>
            <a:picLocks noChangeAspect="1"/>
          </p:cNvPicPr>
          <p:nvPr/>
        </p:nvPicPr>
        <p:blipFill rotWithShape="1">
          <a:blip r:embed="rId3">
            <a:extLst>
              <a:ext uri="{28A0092B-C50C-407E-A947-70E740481C1C}">
                <a14:useLocalDpi xmlns:a14="http://schemas.microsoft.com/office/drawing/2010/main" val="0"/>
              </a:ext>
            </a:extLst>
          </a:blip>
          <a:srcRect l="9849" r="47512"/>
          <a:stretch/>
        </p:blipFill>
        <p:spPr>
          <a:xfrm>
            <a:off x="1" y="-28831"/>
            <a:ext cx="4137434" cy="6886832"/>
          </a:xfrm>
          <a:prstGeom prst="rect">
            <a:avLst/>
          </a:prstGeom>
        </p:spPr>
      </p:pic>
    </p:spTree>
    <p:extLst>
      <p:ext uri="{BB962C8B-B14F-4D97-AF65-F5344CB8AC3E}">
        <p14:creationId xmlns:p14="http://schemas.microsoft.com/office/powerpoint/2010/main" val="828096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979F02CF-2D91-4E5A-B58D-B7DCF10769EC}"/>
              </a:ext>
            </a:extLst>
          </p:cNvPr>
          <p:cNvPicPr>
            <a:picLocks noChangeAspect="1"/>
          </p:cNvPicPr>
          <p:nvPr/>
        </p:nvPicPr>
        <p:blipFill>
          <a:blip r:embed="rId2"/>
          <a:stretch>
            <a:fillRect/>
          </a:stretch>
        </p:blipFill>
        <p:spPr>
          <a:xfrm>
            <a:off x="1145854" y="180902"/>
            <a:ext cx="9277350" cy="5791200"/>
          </a:xfrm>
          <a:prstGeom prst="rect">
            <a:avLst/>
          </a:prstGeom>
        </p:spPr>
      </p:pic>
      <p:sp>
        <p:nvSpPr>
          <p:cNvPr id="4" name="Platshållare för sidfot 3">
            <a:extLst>
              <a:ext uri="{FF2B5EF4-FFF2-40B4-BE49-F238E27FC236}">
                <a16:creationId xmlns:a16="http://schemas.microsoft.com/office/drawing/2014/main" id="{DDE54158-C01F-425A-B8D4-E7A3174BED4A}"/>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D4D207F9-4BF5-4F4E-B5D2-EA24B90B5D47}"/>
              </a:ext>
            </a:extLst>
          </p:cNvPr>
          <p:cNvSpPr>
            <a:spLocks noGrp="1"/>
          </p:cNvSpPr>
          <p:nvPr>
            <p:ph type="sldNum" sz="quarter" idx="12"/>
          </p:nvPr>
        </p:nvSpPr>
        <p:spPr/>
        <p:txBody>
          <a:bodyPr/>
          <a:lstStyle/>
          <a:p>
            <a:fld id="{7FF155A8-5C6D-4241-95DF-81E4F2B16EE5}" type="slidenum">
              <a:rPr lang="sv-SE" smtClean="0"/>
              <a:t>7</a:t>
            </a:fld>
            <a:endParaRPr lang="sv-SE"/>
          </a:p>
        </p:txBody>
      </p:sp>
    </p:spTree>
    <p:extLst>
      <p:ext uri="{BB962C8B-B14F-4D97-AF65-F5344CB8AC3E}">
        <p14:creationId xmlns:p14="http://schemas.microsoft.com/office/powerpoint/2010/main" val="1949711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Shape 353"/>
        <p:cNvGrpSpPr/>
        <p:nvPr/>
      </p:nvGrpSpPr>
      <p:grpSpPr>
        <a:xfrm>
          <a:off x="0" y="0"/>
          <a:ext cx="0" cy="0"/>
          <a:chOff x="0" y="0"/>
          <a:chExt cx="0" cy="0"/>
        </a:xfrm>
      </p:grpSpPr>
      <p:sp>
        <p:nvSpPr>
          <p:cNvPr id="355" name="Google Shape;355;gf2ed212cae_0_7"/>
          <p:cNvSpPr txBox="1">
            <a:spLocks noGrp="1"/>
          </p:cNvSpPr>
          <p:nvPr>
            <p:ph type="title"/>
          </p:nvPr>
        </p:nvSpPr>
        <p:spPr>
          <a:xfrm>
            <a:off x="471721" y="4413"/>
            <a:ext cx="11028000" cy="1703700"/>
          </a:xfrm>
          <a:prstGeom prst="rect">
            <a:avLst/>
          </a:prstGeom>
          <a:noFill/>
          <a:ln>
            <a:noFill/>
          </a:ln>
        </p:spPr>
        <p:txBody>
          <a:bodyPr spcFirstLastPara="1" wrap="square" lIns="0" tIns="0" rIns="0" bIns="0" anchor="ctr" anchorCtr="0">
            <a:noAutofit/>
          </a:bodyPr>
          <a:lstStyle/>
          <a:p>
            <a:pPr marL="0" lvl="0" indent="0" algn="l" rtl="0">
              <a:lnSpc>
                <a:spcPct val="90000"/>
              </a:lnSpc>
              <a:spcBef>
                <a:spcPts val="0"/>
              </a:spcBef>
              <a:spcAft>
                <a:spcPts val="0"/>
              </a:spcAft>
              <a:buClr>
                <a:schemeClr val="accent2"/>
              </a:buClr>
              <a:buSzPts val="4000"/>
              <a:buFont typeface="Inter"/>
              <a:buNone/>
            </a:pPr>
            <a:r>
              <a:rPr lang="sv-SE" sz="4000" dirty="0"/>
              <a:t>Förbättringsförslag som är under utredning</a:t>
            </a:r>
            <a:endParaRPr dirty="0"/>
          </a:p>
        </p:txBody>
      </p:sp>
      <p:sp>
        <p:nvSpPr>
          <p:cNvPr id="356" name="Google Shape;356;gf2ed212cae_0_7"/>
          <p:cNvSpPr txBox="1">
            <a:spLocks noGrp="1"/>
          </p:cNvSpPr>
          <p:nvPr>
            <p:ph type="sldNum" idx="12"/>
          </p:nvPr>
        </p:nvSpPr>
        <p:spPr>
          <a:xfrm>
            <a:off x="276721" y="6311994"/>
            <a:ext cx="390055" cy="365125"/>
          </a:xfrm>
          <a:prstGeom prst="rect">
            <a:avLst/>
          </a:prstGeom>
          <a:noFill/>
          <a:ln>
            <a:noFill/>
          </a:ln>
        </p:spPr>
        <p:txBody>
          <a:bodyPr spcFirstLastPara="1" wrap="square" lIns="91425" tIns="45700" rIns="91425" bIns="45700" anchor="ctr" anchorCtr="0">
            <a:noAutofit/>
          </a:bodyPr>
          <a:lstStyle>
            <a:defPPr>
              <a:defRPr lang="sv-SE"/>
            </a:defPPr>
            <a:lvl1pPr marL="0" marR="0" lvl="0"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1pPr>
            <a:lvl2pPr marL="0" marR="0" lvl="1"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2pPr>
            <a:lvl3pPr marL="0" marR="0" lvl="2"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3pPr>
            <a:lvl4pPr marL="0" marR="0" lvl="3"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4pPr>
            <a:lvl5pPr marL="0" marR="0" lvl="4"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5pPr>
            <a:lvl6pPr marL="0" marR="0" lvl="5"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6pPr>
            <a:lvl7pPr marL="0" marR="0" lvl="6"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7pPr>
            <a:lvl8pPr marL="0" marR="0" lvl="7"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8pPr>
            <a:lvl9pPr marL="0" marR="0" lvl="8" indent="0" algn="r" defTabSz="914400" rtl="0" eaLnBrk="1" latinLnBrk="0" hangingPunct="1">
              <a:spcBef>
                <a:spcPts val="0"/>
              </a:spcBef>
              <a:buNone/>
              <a:defRPr sz="1050" b="0" i="0" u="none" strike="noStrike" kern="1200" cap="none">
                <a:solidFill>
                  <a:schemeClr val="lt1"/>
                </a:solidFill>
                <a:latin typeface="Open Sans"/>
                <a:ea typeface="Open Sans"/>
                <a:cs typeface="Open Sans"/>
                <a:sym typeface="Open Sans"/>
              </a:defRPr>
            </a:lvl9pPr>
          </a:lstStyle>
          <a:p>
            <a:pPr marL="0" lvl="0" indent="0" algn="r" rtl="0">
              <a:spcBef>
                <a:spcPts val="0"/>
              </a:spcBef>
              <a:spcAft>
                <a:spcPts val="0"/>
              </a:spcAft>
              <a:buNone/>
            </a:pPr>
            <a:fld id="{00000000-1234-1234-1234-123412341234}" type="slidenum">
              <a:rPr lang="sv-SE" smtClean="0"/>
              <a:pPr marL="0" lvl="0" indent="0" algn="r" rtl="0">
                <a:spcBef>
                  <a:spcPts val="0"/>
                </a:spcBef>
                <a:spcAft>
                  <a:spcPts val="0"/>
                </a:spcAft>
                <a:buNone/>
              </a:pPr>
              <a:t>70</a:t>
            </a:fld>
            <a:endParaRPr/>
          </a:p>
        </p:txBody>
      </p:sp>
      <p:sp>
        <p:nvSpPr>
          <p:cNvPr id="357" name="Google Shape;357;gf2ed212cae_0_7"/>
          <p:cNvSpPr txBox="1"/>
          <p:nvPr/>
        </p:nvSpPr>
        <p:spPr>
          <a:xfrm>
            <a:off x="471645" y="1300749"/>
            <a:ext cx="7514103" cy="4157100"/>
          </a:xfrm>
          <a:prstGeom prst="rect">
            <a:avLst/>
          </a:prstGeom>
          <a:noFill/>
          <a:ln>
            <a:noFill/>
          </a:ln>
        </p:spPr>
        <p:txBody>
          <a:bodyPr spcFirstLastPara="1" wrap="square" lIns="0" tIns="0" rIns="0" bIns="0" anchor="t" anchorCtr="0">
            <a:noAutofit/>
          </a:bodyPr>
          <a:lstStyle/>
          <a:p>
            <a:pPr marR="0" lvl="0">
              <a:spcBef>
                <a:spcPts val="0"/>
              </a:spcBef>
              <a:spcAft>
                <a:spcPts val="0"/>
              </a:spcAft>
            </a:pPr>
            <a:r>
              <a:rPr lang="sv-SE" b="1" dirty="0">
                <a:solidFill>
                  <a:schemeClr val="accent2"/>
                </a:solidFill>
                <a:sym typeface="Open Sans"/>
              </a:rPr>
              <a:t>Filtrera specifika flaggor</a:t>
            </a:r>
            <a:endParaRPr b="1" dirty="0">
              <a:solidFill>
                <a:schemeClr val="accent2"/>
              </a:solidFill>
              <a:sym typeface="Open Sans"/>
            </a:endParaRPr>
          </a:p>
          <a:p>
            <a:pPr marL="285750" marR="0" lvl="0" indent="-285750">
              <a:spcBef>
                <a:spcPts val="0"/>
              </a:spcBef>
              <a:spcAft>
                <a:spcPts val="0"/>
              </a:spcAft>
              <a:buClr>
                <a:schemeClr val="accent2"/>
              </a:buClr>
              <a:buSzPts val="1800"/>
              <a:buFont typeface="Arial" panose="020B0604020202020204" pitchFamily="34" charset="0"/>
              <a:buChar char="•"/>
            </a:pPr>
            <a:r>
              <a:rPr lang="sv-SE" dirty="0">
                <a:solidFill>
                  <a:schemeClr val="accent2"/>
                </a:solidFill>
                <a:sym typeface="Open Sans"/>
              </a:rPr>
              <a:t>Kunna filtrera ut specifika flaggor intill listvyn.</a:t>
            </a:r>
            <a:endParaRPr dirty="0">
              <a:solidFill>
                <a:schemeClr val="accent2"/>
              </a:solidFill>
              <a:sym typeface="Open Sans"/>
            </a:endParaRPr>
          </a:p>
          <a:p>
            <a:pPr marL="285750" marR="0" lvl="0" indent="-285750">
              <a:spcBef>
                <a:spcPts val="0"/>
              </a:spcBef>
              <a:spcAft>
                <a:spcPts val="0"/>
              </a:spcAft>
              <a:buFont typeface="Arial" panose="020B0604020202020204" pitchFamily="34" charset="0"/>
              <a:buChar char="•"/>
            </a:pPr>
            <a:endParaRPr dirty="0">
              <a:solidFill>
                <a:schemeClr val="accent2"/>
              </a:solidFill>
              <a:sym typeface="Open Sans"/>
            </a:endParaRPr>
          </a:p>
          <a:p>
            <a:pPr marR="0" lvl="0">
              <a:spcBef>
                <a:spcPts val="0"/>
              </a:spcBef>
              <a:spcAft>
                <a:spcPts val="0"/>
              </a:spcAft>
            </a:pPr>
            <a:r>
              <a:rPr lang="sv-SE" b="1" dirty="0">
                <a:solidFill>
                  <a:schemeClr val="accent2"/>
                </a:solidFill>
                <a:sym typeface="Open Sans"/>
              </a:rPr>
              <a:t>Visa specifika ikoner</a:t>
            </a:r>
            <a:endParaRPr b="1" dirty="0">
              <a:solidFill>
                <a:schemeClr val="accent2"/>
              </a:solidFill>
              <a:sym typeface="Open Sans"/>
            </a:endParaRPr>
          </a:p>
          <a:p>
            <a:pPr marL="285750" marR="0" lvl="0" indent="-285750">
              <a:spcBef>
                <a:spcPts val="0"/>
              </a:spcBef>
              <a:spcAft>
                <a:spcPts val="0"/>
              </a:spcAft>
              <a:buClr>
                <a:schemeClr val="accent2"/>
              </a:buClr>
              <a:buSzPts val="1800"/>
              <a:buFont typeface="Arial" panose="020B0604020202020204" pitchFamily="34" charset="0"/>
              <a:buChar char="•"/>
            </a:pPr>
            <a:r>
              <a:rPr lang="sv-SE" dirty="0">
                <a:solidFill>
                  <a:schemeClr val="accent2"/>
                </a:solidFill>
                <a:sym typeface="Open Sans"/>
              </a:rPr>
              <a:t>Återinföra de specifika flaggornas ikoner när man fällt ut de grupperande flaggorna.</a:t>
            </a:r>
          </a:p>
          <a:p>
            <a:pPr marL="285750" marR="0" lvl="0" indent="-285750">
              <a:spcBef>
                <a:spcPts val="0"/>
              </a:spcBef>
              <a:spcAft>
                <a:spcPts val="0"/>
              </a:spcAft>
              <a:buFont typeface="Arial" panose="020B0604020202020204" pitchFamily="34" charset="0"/>
              <a:buChar char="•"/>
            </a:pPr>
            <a:endParaRPr dirty="0">
              <a:solidFill>
                <a:schemeClr val="accent2"/>
              </a:solidFill>
              <a:sym typeface="Open Sans"/>
            </a:endParaRPr>
          </a:p>
          <a:p>
            <a:pPr marR="0" lvl="0">
              <a:spcBef>
                <a:spcPts val="0"/>
              </a:spcBef>
              <a:spcAft>
                <a:spcPts val="0"/>
              </a:spcAft>
            </a:pPr>
            <a:r>
              <a:rPr lang="sv-SE" b="1" dirty="0">
                <a:solidFill>
                  <a:schemeClr val="accent2"/>
                </a:solidFill>
                <a:sym typeface="Open Sans"/>
              </a:rPr>
              <a:t>Vägledning till funktioner i tjänsten</a:t>
            </a:r>
            <a:endParaRPr b="1" dirty="0">
              <a:solidFill>
                <a:schemeClr val="accent2"/>
              </a:solidFill>
              <a:sym typeface="Open Sans"/>
            </a:endParaRPr>
          </a:p>
          <a:p>
            <a:pPr marL="285750" marR="0" lvl="0" indent="-285750">
              <a:spcBef>
                <a:spcPts val="0"/>
              </a:spcBef>
              <a:spcAft>
                <a:spcPts val="0"/>
              </a:spcAft>
              <a:buClr>
                <a:schemeClr val="accent2"/>
              </a:buClr>
              <a:buSzPts val="1800"/>
              <a:buFont typeface="Arial" panose="020B0604020202020204" pitchFamily="34" charset="0"/>
              <a:buChar char="•"/>
            </a:pPr>
            <a:r>
              <a:rPr lang="sv-SE" dirty="0">
                <a:solidFill>
                  <a:schemeClr val="accent2"/>
                </a:solidFill>
                <a:sym typeface="Open Sans"/>
              </a:rPr>
              <a:t>Ta fram en guide, likt snabbguiden för invånaren för att framhäva funktionalitet.</a:t>
            </a:r>
          </a:p>
          <a:p>
            <a:pPr marL="285750" marR="0" lvl="0" indent="-285750">
              <a:spcBef>
                <a:spcPts val="0"/>
              </a:spcBef>
              <a:spcAft>
                <a:spcPts val="0"/>
              </a:spcAft>
              <a:buClr>
                <a:schemeClr val="dk1"/>
              </a:buClr>
              <a:buSzPts val="1800"/>
              <a:buFont typeface="Arial" panose="020B0604020202020204" pitchFamily="34" charset="0"/>
              <a:buChar char="•"/>
            </a:pPr>
            <a:endParaRPr lang="sv-SE" dirty="0">
              <a:solidFill>
                <a:schemeClr val="accent2"/>
              </a:solidFill>
              <a:sym typeface="Open Sans"/>
            </a:endParaRPr>
          </a:p>
          <a:p>
            <a:pPr marR="0" lvl="0">
              <a:spcBef>
                <a:spcPts val="0"/>
              </a:spcBef>
              <a:spcAft>
                <a:spcPts val="0"/>
              </a:spcAft>
            </a:pPr>
            <a:r>
              <a:rPr lang="sv-SE" b="1" dirty="0">
                <a:solidFill>
                  <a:schemeClr val="accent2"/>
                </a:solidFill>
                <a:sym typeface="Open Sans"/>
              </a:rPr>
              <a:t>Ikoner</a:t>
            </a:r>
          </a:p>
          <a:p>
            <a:pPr marL="285750" marR="0" lvl="0" indent="-285750">
              <a:spcBef>
                <a:spcPts val="0"/>
              </a:spcBef>
              <a:spcAft>
                <a:spcPts val="0"/>
              </a:spcAft>
              <a:buClr>
                <a:schemeClr val="accent2"/>
              </a:buClr>
              <a:buSzPts val="1800"/>
              <a:buFont typeface="Arial" panose="020B0604020202020204" pitchFamily="34" charset="0"/>
              <a:buChar char="•"/>
            </a:pPr>
            <a:r>
              <a:rPr lang="sv-SE" dirty="0">
                <a:solidFill>
                  <a:schemeClr val="accent2"/>
                </a:solidFill>
                <a:sym typeface="Open Sans"/>
              </a:rPr>
              <a:t>Se över ikoner en runda till för eventuella förbättringar.</a:t>
            </a:r>
          </a:p>
          <a:p>
            <a:pPr marL="285750" marR="0" lvl="0" indent="-285750">
              <a:spcBef>
                <a:spcPts val="0"/>
              </a:spcBef>
              <a:spcAft>
                <a:spcPts val="0"/>
              </a:spcAft>
              <a:buClr>
                <a:schemeClr val="dk1"/>
              </a:buClr>
              <a:buSzPts val="1800"/>
              <a:buFont typeface="Arial" panose="020B0604020202020204" pitchFamily="34" charset="0"/>
              <a:buChar char="•"/>
            </a:pPr>
            <a:endParaRPr lang="sv-SE" dirty="0">
              <a:solidFill>
                <a:schemeClr val="accent2"/>
              </a:solidFill>
              <a:sym typeface="Open Sans"/>
            </a:endParaRPr>
          </a:p>
          <a:p>
            <a:pPr marR="0" lvl="0">
              <a:spcBef>
                <a:spcPts val="0"/>
              </a:spcBef>
              <a:spcAft>
                <a:spcPts val="0"/>
              </a:spcAft>
            </a:pPr>
            <a:r>
              <a:rPr lang="sv-SE" b="1" dirty="0">
                <a:solidFill>
                  <a:schemeClr val="accent2"/>
                </a:solidFill>
                <a:sym typeface="Open Sans"/>
              </a:rPr>
              <a:t>Se poäng för skattning </a:t>
            </a:r>
          </a:p>
          <a:p>
            <a:pPr marL="285750" marR="0" lvl="0" indent="-285750">
              <a:spcBef>
                <a:spcPts val="0"/>
              </a:spcBef>
              <a:spcAft>
                <a:spcPts val="0"/>
              </a:spcAft>
              <a:buClr>
                <a:schemeClr val="accent2"/>
              </a:buClr>
              <a:buSzPts val="1800"/>
              <a:buFont typeface="Arial" panose="020B0604020202020204" pitchFamily="34" charset="0"/>
              <a:buChar char="•"/>
            </a:pPr>
            <a:r>
              <a:rPr lang="sv-SE" dirty="0">
                <a:solidFill>
                  <a:schemeClr val="accent2"/>
                </a:solidFill>
                <a:sym typeface="Open Sans"/>
              </a:rPr>
              <a:t>Addera möjligheten att kunna se de samlade poängen för skattning i utan att behöva gå in i formuläret. </a:t>
            </a:r>
          </a:p>
          <a:p>
            <a:pPr marR="0" lvl="0">
              <a:spcBef>
                <a:spcPts val="0"/>
              </a:spcBef>
              <a:spcAft>
                <a:spcPts val="0"/>
              </a:spcAft>
              <a:buClr>
                <a:schemeClr val="dk1"/>
              </a:buClr>
              <a:buSzPts val="1800"/>
            </a:pPr>
            <a:endParaRPr lang="sv-SE" dirty="0">
              <a:solidFill>
                <a:schemeClr val="accent2"/>
              </a:solidFill>
              <a:sym typeface="Open Sans"/>
            </a:endParaRPr>
          </a:p>
        </p:txBody>
      </p:sp>
      <p:grpSp>
        <p:nvGrpSpPr>
          <p:cNvPr id="3" name="Grupp 2">
            <a:extLst>
              <a:ext uri="{FF2B5EF4-FFF2-40B4-BE49-F238E27FC236}">
                <a16:creationId xmlns:a16="http://schemas.microsoft.com/office/drawing/2014/main" id="{83F59C45-2878-6043-AB4A-0DD64B884F70}"/>
              </a:ext>
            </a:extLst>
          </p:cNvPr>
          <p:cNvGrpSpPr/>
          <p:nvPr/>
        </p:nvGrpSpPr>
        <p:grpSpPr>
          <a:xfrm>
            <a:off x="7985748" y="1016167"/>
            <a:ext cx="3636213" cy="4726264"/>
            <a:chOff x="7973749" y="799571"/>
            <a:chExt cx="3636213" cy="4726264"/>
          </a:xfrm>
        </p:grpSpPr>
        <p:pic>
          <p:nvPicPr>
            <p:cNvPr id="354" name="Google Shape;354;gf2ed212cae_0_7"/>
            <p:cNvPicPr preferRelativeResize="0"/>
            <p:nvPr/>
          </p:nvPicPr>
          <p:blipFill>
            <a:blip r:embed="rId3">
              <a:alphaModFix/>
            </a:blip>
            <a:stretch>
              <a:fillRect/>
            </a:stretch>
          </p:blipFill>
          <p:spPr>
            <a:xfrm>
              <a:off x="7973749" y="1268535"/>
              <a:ext cx="3636213" cy="4257300"/>
            </a:xfrm>
            <a:prstGeom prst="rect">
              <a:avLst/>
            </a:prstGeom>
            <a:noFill/>
            <a:ln>
              <a:noFill/>
            </a:ln>
          </p:spPr>
        </p:pic>
        <p:sp>
          <p:nvSpPr>
            <p:cNvPr id="2" name="textruta 1">
              <a:extLst>
                <a:ext uri="{FF2B5EF4-FFF2-40B4-BE49-F238E27FC236}">
                  <a16:creationId xmlns:a16="http://schemas.microsoft.com/office/drawing/2014/main" id="{5428E0B4-F3B4-804E-A087-9397DD88D307}"/>
                </a:ext>
              </a:extLst>
            </p:cNvPr>
            <p:cNvSpPr txBox="1"/>
            <p:nvPr/>
          </p:nvSpPr>
          <p:spPr>
            <a:xfrm rot="824200">
              <a:off x="9970545" y="1141033"/>
              <a:ext cx="1321278" cy="461665"/>
            </a:xfrm>
            <a:prstGeom prst="rect">
              <a:avLst/>
            </a:prstGeom>
            <a:noFill/>
          </p:spPr>
          <p:txBody>
            <a:bodyPr wrap="square" rtlCol="0">
              <a:spAutoFit/>
            </a:bodyPr>
            <a:lstStyle/>
            <a:p>
              <a:r>
                <a:rPr lang="sv-SE" sz="2400"/>
                <a:t>Insikter</a:t>
              </a:r>
            </a:p>
          </p:txBody>
        </p:sp>
        <p:sp>
          <p:nvSpPr>
            <p:cNvPr id="7" name="textruta 6">
              <a:extLst>
                <a:ext uri="{FF2B5EF4-FFF2-40B4-BE49-F238E27FC236}">
                  <a16:creationId xmlns:a16="http://schemas.microsoft.com/office/drawing/2014/main" id="{286CEDB8-6FA4-C444-9A68-AFDC758B8A63}"/>
                </a:ext>
              </a:extLst>
            </p:cNvPr>
            <p:cNvSpPr txBox="1"/>
            <p:nvPr/>
          </p:nvSpPr>
          <p:spPr>
            <a:xfrm rot="824200">
              <a:off x="9251854" y="1281738"/>
              <a:ext cx="932688" cy="307777"/>
            </a:xfrm>
            <a:prstGeom prst="rect">
              <a:avLst/>
            </a:prstGeom>
            <a:noFill/>
          </p:spPr>
          <p:txBody>
            <a:bodyPr wrap="square" rtlCol="0">
              <a:spAutoFit/>
            </a:bodyPr>
            <a:lstStyle/>
            <a:p>
              <a:r>
                <a:rPr lang="sv-SE" sz="1400"/>
                <a:t>Insikter</a:t>
              </a:r>
            </a:p>
          </p:txBody>
        </p:sp>
        <p:sp>
          <p:nvSpPr>
            <p:cNvPr id="8" name="textruta 7">
              <a:extLst>
                <a:ext uri="{FF2B5EF4-FFF2-40B4-BE49-F238E27FC236}">
                  <a16:creationId xmlns:a16="http://schemas.microsoft.com/office/drawing/2014/main" id="{F9A81EB6-6913-F947-A795-120B7E1774BA}"/>
                </a:ext>
              </a:extLst>
            </p:cNvPr>
            <p:cNvSpPr txBox="1"/>
            <p:nvPr/>
          </p:nvSpPr>
          <p:spPr>
            <a:xfrm rot="824200">
              <a:off x="9468283" y="799571"/>
              <a:ext cx="932688" cy="338554"/>
            </a:xfrm>
            <a:prstGeom prst="rect">
              <a:avLst/>
            </a:prstGeom>
            <a:noFill/>
          </p:spPr>
          <p:txBody>
            <a:bodyPr wrap="square" rtlCol="0">
              <a:spAutoFit/>
            </a:bodyPr>
            <a:lstStyle/>
            <a:p>
              <a:r>
                <a:rPr lang="sv-SE" sz="1600"/>
                <a:t>Insikter</a:t>
              </a:r>
            </a:p>
          </p:txBody>
        </p:sp>
        <p:sp>
          <p:nvSpPr>
            <p:cNvPr id="9" name="textruta 8">
              <a:extLst>
                <a:ext uri="{FF2B5EF4-FFF2-40B4-BE49-F238E27FC236}">
                  <a16:creationId xmlns:a16="http://schemas.microsoft.com/office/drawing/2014/main" id="{57669828-1AC6-D749-B5F7-FA91BC371866}"/>
                </a:ext>
              </a:extLst>
            </p:cNvPr>
            <p:cNvSpPr txBox="1"/>
            <p:nvPr/>
          </p:nvSpPr>
          <p:spPr>
            <a:xfrm rot="824200">
              <a:off x="8868694" y="963480"/>
              <a:ext cx="932688" cy="246221"/>
            </a:xfrm>
            <a:prstGeom prst="rect">
              <a:avLst/>
            </a:prstGeom>
            <a:noFill/>
          </p:spPr>
          <p:txBody>
            <a:bodyPr wrap="square" rtlCol="0">
              <a:spAutoFit/>
            </a:bodyPr>
            <a:lstStyle/>
            <a:p>
              <a:r>
                <a:rPr lang="sv-SE" sz="1000"/>
                <a:t>Insikter</a:t>
              </a:r>
            </a:p>
          </p:txBody>
        </p:sp>
        <p:sp>
          <p:nvSpPr>
            <p:cNvPr id="10" name="textruta 9">
              <a:extLst>
                <a:ext uri="{FF2B5EF4-FFF2-40B4-BE49-F238E27FC236}">
                  <a16:creationId xmlns:a16="http://schemas.microsoft.com/office/drawing/2014/main" id="{1490505C-55D4-1541-B6EC-08EB18F5B12A}"/>
                </a:ext>
              </a:extLst>
            </p:cNvPr>
            <p:cNvSpPr txBox="1"/>
            <p:nvPr/>
          </p:nvSpPr>
          <p:spPr>
            <a:xfrm rot="824200">
              <a:off x="10340990" y="886172"/>
              <a:ext cx="932688" cy="246221"/>
            </a:xfrm>
            <a:prstGeom prst="rect">
              <a:avLst/>
            </a:prstGeom>
            <a:noFill/>
          </p:spPr>
          <p:txBody>
            <a:bodyPr wrap="square" rtlCol="0">
              <a:spAutoFit/>
            </a:bodyPr>
            <a:lstStyle/>
            <a:p>
              <a:r>
                <a:rPr lang="sv-SE" sz="1000"/>
                <a:t>Insikter</a:t>
              </a:r>
            </a:p>
          </p:txBody>
        </p:sp>
      </p:grpSp>
    </p:spTree>
    <p:extLst>
      <p:ext uri="{BB962C8B-B14F-4D97-AF65-F5344CB8AC3E}">
        <p14:creationId xmlns:p14="http://schemas.microsoft.com/office/powerpoint/2010/main" val="168072030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0839BFB-BE27-4FFA-AA43-B5877AF8F336}"/>
              </a:ext>
            </a:extLst>
          </p:cNvPr>
          <p:cNvSpPr>
            <a:spLocks noGrp="1"/>
          </p:cNvSpPr>
          <p:nvPr>
            <p:ph type="title"/>
          </p:nvPr>
        </p:nvSpPr>
        <p:spPr/>
        <p:txBody>
          <a:bodyPr/>
          <a:lstStyle/>
          <a:p>
            <a:r>
              <a:rPr lang="sv-SE" dirty="0"/>
              <a:t>Nästa steg med flaggor </a:t>
            </a:r>
          </a:p>
        </p:txBody>
      </p:sp>
      <p:sp>
        <p:nvSpPr>
          <p:cNvPr id="3" name="Platshållare för text 2">
            <a:extLst>
              <a:ext uri="{FF2B5EF4-FFF2-40B4-BE49-F238E27FC236}">
                <a16:creationId xmlns:a16="http://schemas.microsoft.com/office/drawing/2014/main" id="{DD1458BF-FD7A-4D6B-8E62-F0B09140F33D}"/>
              </a:ext>
            </a:extLst>
          </p:cNvPr>
          <p:cNvSpPr>
            <a:spLocks noGrp="1"/>
          </p:cNvSpPr>
          <p:nvPr>
            <p:ph type="body" idx="1"/>
          </p:nvPr>
        </p:nvSpPr>
        <p:spPr/>
        <p:txBody>
          <a:bodyPr/>
          <a:lstStyle/>
          <a:p>
            <a:pPr>
              <a:buFont typeface="Wingdings" panose="05000000000000000000" pitchFamily="2" charset="2"/>
              <a:buChar char="ü"/>
            </a:pPr>
            <a:r>
              <a:rPr lang="sv-SE" dirty="0"/>
              <a:t>Nästa steg är att spela in och publicera en sprintdemo för att få en bredare målgrupp.</a:t>
            </a:r>
          </a:p>
          <a:p>
            <a:pPr>
              <a:buFont typeface="Wingdings" panose="05000000000000000000" pitchFamily="2" charset="2"/>
              <a:buChar char="ü"/>
            </a:pPr>
            <a:r>
              <a:rPr lang="sv-SE" dirty="0"/>
              <a:t>Analysera svaren.</a:t>
            </a:r>
          </a:p>
          <a:p>
            <a:pPr>
              <a:buFont typeface="Wingdings" panose="05000000000000000000" pitchFamily="2" charset="2"/>
              <a:buChar char="ü"/>
            </a:pPr>
            <a:r>
              <a:rPr lang="sv-SE" dirty="0"/>
              <a:t>Iterera skisserna.</a:t>
            </a:r>
          </a:p>
          <a:p>
            <a:pPr>
              <a:buFont typeface="Wingdings" panose="05000000000000000000" pitchFamily="2" charset="2"/>
              <a:buChar char="ü"/>
            </a:pPr>
            <a:r>
              <a:rPr lang="sv-SE" dirty="0"/>
              <a:t>Beslut om tillvägagångsätt. </a:t>
            </a:r>
          </a:p>
          <a:p>
            <a:pPr>
              <a:buFont typeface="Wingdings" panose="05000000000000000000" pitchFamily="2" charset="2"/>
              <a:buChar char="ü"/>
            </a:pPr>
            <a:r>
              <a:rPr lang="sv-SE" dirty="0"/>
              <a:t>Återkoppling till användarna.</a:t>
            </a:r>
          </a:p>
          <a:p>
            <a:pPr>
              <a:buFont typeface="Wingdings" panose="05000000000000000000" pitchFamily="2" charset="2"/>
              <a:buChar char="ü"/>
            </a:pPr>
            <a:r>
              <a:rPr lang="sv-SE" dirty="0"/>
              <a:t>Påbörja utvecklingen.  </a:t>
            </a:r>
          </a:p>
        </p:txBody>
      </p:sp>
      <p:sp>
        <p:nvSpPr>
          <p:cNvPr id="4" name="Platshållare för sidfot 3">
            <a:extLst>
              <a:ext uri="{FF2B5EF4-FFF2-40B4-BE49-F238E27FC236}">
                <a16:creationId xmlns:a16="http://schemas.microsoft.com/office/drawing/2014/main" id="{A1F975CD-C4B5-41C8-A18A-E50DF3000C28}"/>
              </a:ext>
            </a:extLst>
          </p:cNvPr>
          <p:cNvSpPr>
            <a:spLocks noGrp="1"/>
          </p:cNvSpPr>
          <p:nvPr>
            <p:ph type="ftr" idx="11"/>
          </p:nvPr>
        </p:nvSpPr>
        <p:spPr/>
        <p:txBody>
          <a:bodyPr/>
          <a:lstStyle/>
          <a:p>
            <a:endParaRPr lang="sv-SE"/>
          </a:p>
        </p:txBody>
      </p:sp>
      <p:sp>
        <p:nvSpPr>
          <p:cNvPr id="5" name="Platshållare för bildnummer 4">
            <a:extLst>
              <a:ext uri="{FF2B5EF4-FFF2-40B4-BE49-F238E27FC236}">
                <a16:creationId xmlns:a16="http://schemas.microsoft.com/office/drawing/2014/main" id="{3D0F85FD-AB57-42FE-A502-137A0F9B594E}"/>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sv-SE" smtClean="0"/>
              <a:t>71</a:t>
            </a:fld>
            <a:endParaRPr lang="sv-SE"/>
          </a:p>
        </p:txBody>
      </p:sp>
      <p:pic>
        <p:nvPicPr>
          <p:cNvPr id="7" name="Bildobjekt 6">
            <a:extLst>
              <a:ext uri="{FF2B5EF4-FFF2-40B4-BE49-F238E27FC236}">
                <a16:creationId xmlns:a16="http://schemas.microsoft.com/office/drawing/2014/main" id="{59FEA29D-A5F1-4719-A44C-7D1B9A4DE783}"/>
              </a:ext>
            </a:extLst>
          </p:cNvPr>
          <p:cNvPicPr>
            <a:picLocks noChangeAspect="1"/>
          </p:cNvPicPr>
          <p:nvPr/>
        </p:nvPicPr>
        <p:blipFill rotWithShape="1">
          <a:blip r:embed="rId2"/>
          <a:srcRect l="18842" t="4338" r="25142" b="7678"/>
          <a:stretch/>
        </p:blipFill>
        <p:spPr>
          <a:xfrm>
            <a:off x="6955757" y="2325885"/>
            <a:ext cx="4486275" cy="3541515"/>
          </a:xfrm>
          <a:prstGeom prst="rect">
            <a:avLst/>
          </a:prstGeom>
        </p:spPr>
      </p:pic>
    </p:spTree>
    <p:extLst>
      <p:ext uri="{BB962C8B-B14F-4D97-AF65-F5344CB8AC3E}">
        <p14:creationId xmlns:p14="http://schemas.microsoft.com/office/powerpoint/2010/main" val="244522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gedcb3ed9b3_0_8"/>
          <p:cNvSpPr txBox="1">
            <a:spLocks noGrp="1"/>
          </p:cNvSpPr>
          <p:nvPr>
            <p:ph type="title"/>
          </p:nvPr>
        </p:nvSpPr>
        <p:spPr>
          <a:xfrm>
            <a:off x="812132" y="212682"/>
            <a:ext cx="10567736" cy="1149264"/>
          </a:xfrm>
          <a:prstGeom prst="rect">
            <a:avLst/>
          </a:prstGeom>
          <a:noFill/>
          <a:ln>
            <a:noFill/>
          </a:ln>
        </p:spPr>
        <p:txBody>
          <a:bodyPr spcFirstLastPara="1" wrap="square" lIns="0" tIns="0" rIns="0" bIns="0" anchor="t" anchorCtr="0">
            <a:normAutofit/>
          </a:bodyPr>
          <a:lstStyle/>
          <a:p>
            <a:pPr marL="0" lvl="0" indent="0" algn="l" rtl="0">
              <a:lnSpc>
                <a:spcPct val="90000"/>
              </a:lnSpc>
              <a:spcBef>
                <a:spcPts val="0"/>
              </a:spcBef>
              <a:spcAft>
                <a:spcPts val="0"/>
              </a:spcAft>
              <a:buClr>
                <a:schemeClr val="accent2"/>
              </a:buClr>
              <a:buSzPct val="105076"/>
              <a:buFont typeface="Inter"/>
              <a:buNone/>
            </a:pPr>
            <a:r>
              <a:rPr lang="sv-SE" sz="3940" dirty="0"/>
              <a:t>Inför framtida test</a:t>
            </a:r>
            <a:endParaRPr lang="sv-SE" sz="2273" b="0" dirty="0">
              <a:solidFill>
                <a:schemeClr val="dk1"/>
              </a:solidFill>
            </a:endParaRPr>
          </a:p>
        </p:txBody>
      </p:sp>
      <p:sp>
        <p:nvSpPr>
          <p:cNvPr id="3" name="textruta 2">
            <a:extLst>
              <a:ext uri="{FF2B5EF4-FFF2-40B4-BE49-F238E27FC236}">
                <a16:creationId xmlns:a16="http://schemas.microsoft.com/office/drawing/2014/main" id="{2696F7AE-D81B-BF48-ABF0-7D7AEB5C04A5}"/>
              </a:ext>
            </a:extLst>
          </p:cNvPr>
          <p:cNvSpPr txBox="1"/>
          <p:nvPr/>
        </p:nvSpPr>
        <p:spPr>
          <a:xfrm>
            <a:off x="5875548" y="2209718"/>
            <a:ext cx="5398700" cy="2308324"/>
          </a:xfrm>
          <a:prstGeom prst="rect">
            <a:avLst/>
          </a:prstGeom>
          <a:noFill/>
        </p:spPr>
        <p:txBody>
          <a:bodyPr wrap="square" rtlCol="0">
            <a:spAutoFit/>
          </a:bodyPr>
          <a:lstStyle/>
          <a:p>
            <a:r>
              <a:rPr lang="sv-SE" dirty="0">
                <a:solidFill>
                  <a:schemeClr val="accent2"/>
                </a:solidFill>
              </a:rPr>
              <a:t>Bredare urval av respondenter</a:t>
            </a:r>
          </a:p>
          <a:p>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Behöver ett större urval</a:t>
            </a:r>
          </a:p>
          <a:p>
            <a:pPr marL="742950" lvl="1" indent="-285750">
              <a:buFont typeface="Arial" panose="020B0604020202020204" pitchFamily="34" charset="0"/>
              <a:buChar char="•"/>
            </a:pPr>
            <a:r>
              <a:rPr lang="sv-SE" dirty="0">
                <a:solidFill>
                  <a:schemeClr val="accent2"/>
                </a:solidFill>
              </a:rPr>
              <a:t>Fler respondenter </a:t>
            </a:r>
          </a:p>
          <a:p>
            <a:pPr marL="285750" indent="-285750">
              <a:buFont typeface="Arial" panose="020B0604020202020204" pitchFamily="34" charset="0"/>
              <a:buChar char="•"/>
            </a:pPr>
            <a:endParaRPr lang="sv-SE" dirty="0">
              <a:solidFill>
                <a:schemeClr val="accent2"/>
              </a:solidFill>
            </a:endParaRPr>
          </a:p>
          <a:p>
            <a:pPr marL="285750" indent="-285750">
              <a:buFont typeface="Arial" panose="020B0604020202020204" pitchFamily="34" charset="0"/>
              <a:buChar char="•"/>
            </a:pPr>
            <a:r>
              <a:rPr lang="sv-SE" dirty="0">
                <a:solidFill>
                  <a:schemeClr val="accent2"/>
                </a:solidFill>
              </a:rPr>
              <a:t>Behöver ett bredare urval</a:t>
            </a:r>
          </a:p>
          <a:p>
            <a:pPr marL="742950" lvl="1" indent="-285750">
              <a:buFont typeface="Arial" panose="020B0604020202020204" pitchFamily="34" charset="0"/>
              <a:buChar char="•"/>
            </a:pPr>
            <a:r>
              <a:rPr lang="sv-SE" dirty="0">
                <a:solidFill>
                  <a:schemeClr val="accent2"/>
                </a:solidFill>
              </a:rPr>
              <a:t>Olika regioner</a:t>
            </a:r>
          </a:p>
          <a:p>
            <a:pPr marL="742950" lvl="1" indent="-285750">
              <a:buFont typeface="Arial" panose="020B0604020202020204" pitchFamily="34" charset="0"/>
              <a:buChar char="•"/>
            </a:pPr>
            <a:r>
              <a:rPr lang="sv-SE" dirty="0">
                <a:solidFill>
                  <a:schemeClr val="accent2"/>
                </a:solidFill>
              </a:rPr>
              <a:t>Olika verksamheter </a:t>
            </a:r>
          </a:p>
        </p:txBody>
      </p:sp>
      <p:pic>
        <p:nvPicPr>
          <p:cNvPr id="9218" name="Picture 2" descr="Light bulb drawing | Free SVG">
            <a:extLst>
              <a:ext uri="{FF2B5EF4-FFF2-40B4-BE49-F238E27FC236}">
                <a16:creationId xmlns:a16="http://schemas.microsoft.com/office/drawing/2014/main" id="{DD0EF37A-F43F-0940-A1A5-3A72E5E0E8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448" y="787314"/>
            <a:ext cx="5010091" cy="5010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6351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Sammanfattning av användarforum</a:t>
            </a:r>
          </a:p>
          <a:p>
            <a:pPr marL="0" indent="0">
              <a:lnSpc>
                <a:spcPct val="100000"/>
              </a:lnSpc>
              <a:spcBef>
                <a:spcPts val="0"/>
              </a:spcBef>
              <a:spcAft>
                <a:spcPts val="1800"/>
              </a:spcAft>
              <a:buNone/>
            </a:pPr>
            <a:r>
              <a:rPr lang="sv-SE" dirty="0">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73</a:t>
            </a:fld>
            <a:endParaRPr lang="sv-SE"/>
          </a:p>
        </p:txBody>
      </p:sp>
    </p:spTree>
    <p:extLst>
      <p:ext uri="{BB962C8B-B14F-4D97-AF65-F5344CB8AC3E}">
        <p14:creationId xmlns:p14="http://schemas.microsoft.com/office/powerpoint/2010/main" val="1302150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4B2BEF8-01CD-4A03-9D30-20586E8F99A3}"/>
              </a:ext>
            </a:extLst>
          </p:cNvPr>
          <p:cNvSpPr>
            <a:spLocks noGrp="1"/>
          </p:cNvSpPr>
          <p:nvPr>
            <p:ph type="title"/>
          </p:nvPr>
        </p:nvSpPr>
        <p:spPr/>
        <p:txBody>
          <a:bodyPr/>
          <a:lstStyle/>
          <a:p>
            <a:r>
              <a:rPr lang="sv-SE" dirty="0"/>
              <a:t>Anmälda frågor</a:t>
            </a:r>
          </a:p>
        </p:txBody>
      </p:sp>
      <p:sp>
        <p:nvSpPr>
          <p:cNvPr id="3" name="Platshållare för innehåll 2">
            <a:extLst>
              <a:ext uri="{FF2B5EF4-FFF2-40B4-BE49-F238E27FC236}">
                <a16:creationId xmlns:a16="http://schemas.microsoft.com/office/drawing/2014/main" id="{ABC8B6A8-FA44-4826-BFC4-C777DD6253FE}"/>
              </a:ext>
            </a:extLst>
          </p:cNvPr>
          <p:cNvSpPr>
            <a:spLocks noGrp="1"/>
          </p:cNvSpPr>
          <p:nvPr>
            <p:ph idx="1"/>
          </p:nvPr>
        </p:nvSpPr>
        <p:spPr/>
        <p:txBody>
          <a:bodyPr/>
          <a:lstStyle/>
          <a:p>
            <a:endParaRPr lang="sv-SE" dirty="0"/>
          </a:p>
        </p:txBody>
      </p:sp>
      <p:sp>
        <p:nvSpPr>
          <p:cNvPr id="4" name="Platshållare för sidfot 3">
            <a:extLst>
              <a:ext uri="{FF2B5EF4-FFF2-40B4-BE49-F238E27FC236}">
                <a16:creationId xmlns:a16="http://schemas.microsoft.com/office/drawing/2014/main" id="{31624010-297C-4113-A6BC-75365C9B3E1F}"/>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65C3CD84-EEA9-4799-B58E-C8C47FD6C43B}"/>
              </a:ext>
            </a:extLst>
          </p:cNvPr>
          <p:cNvSpPr>
            <a:spLocks noGrp="1"/>
          </p:cNvSpPr>
          <p:nvPr>
            <p:ph type="sldNum" sz="quarter" idx="12"/>
          </p:nvPr>
        </p:nvSpPr>
        <p:spPr/>
        <p:txBody>
          <a:bodyPr/>
          <a:lstStyle/>
          <a:p>
            <a:fld id="{D1B389D8-6223-4B1D-82AB-19C377706A8C}" type="slidenum">
              <a:rPr lang="sv-SE" smtClean="0"/>
              <a:t>74</a:t>
            </a:fld>
            <a:endParaRPr lang="sv-SE"/>
          </a:p>
        </p:txBody>
      </p:sp>
    </p:spTree>
    <p:extLst>
      <p:ext uri="{BB962C8B-B14F-4D97-AF65-F5344CB8AC3E}">
        <p14:creationId xmlns:p14="http://schemas.microsoft.com/office/powerpoint/2010/main" val="27429159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FCCCF5-BAA9-4E4C-96B6-6829CE835F12}"/>
              </a:ext>
            </a:extLst>
          </p:cNvPr>
          <p:cNvSpPr>
            <a:spLocks noGrp="1"/>
          </p:cNvSpPr>
          <p:nvPr>
            <p:ph type="title"/>
          </p:nvPr>
        </p:nvSpPr>
        <p:spPr/>
        <p:txBody>
          <a:bodyPr/>
          <a:lstStyle/>
          <a:p>
            <a:r>
              <a:rPr lang="sv-SE">
                <a:ea typeface="+mj-lt"/>
                <a:cs typeface="+mj-lt"/>
              </a:rPr>
              <a:t>Agenda</a:t>
            </a:r>
            <a:endParaRPr lang="sv-SE"/>
          </a:p>
        </p:txBody>
      </p:sp>
      <p:sp>
        <p:nvSpPr>
          <p:cNvPr id="5" name="Platshållare för innehåll 4">
            <a:extLst>
              <a:ext uri="{FF2B5EF4-FFF2-40B4-BE49-F238E27FC236}">
                <a16:creationId xmlns:a16="http://schemas.microsoft.com/office/drawing/2014/main" id="{BC5C837C-7D53-4E50-BDC1-752E6FCF03A0}"/>
              </a:ext>
            </a:extLst>
          </p:cNvPr>
          <p:cNvSpPr>
            <a:spLocks noGrp="1"/>
          </p:cNvSpPr>
          <p:nvPr>
            <p:ph idx="1"/>
          </p:nvPr>
        </p:nvSpPr>
        <p:spPr>
          <a:xfrm>
            <a:off x="866275" y="1406194"/>
            <a:ext cx="10459450" cy="3564527"/>
          </a:xfrm>
        </p:spPr>
        <p:txBody>
          <a:bodyPr vert="horz" lIns="0" tIns="0" rIns="0" bIns="0" rtlCol="0" anchor="t">
            <a:noAutofit/>
          </a:bodyPr>
          <a:lstStyle/>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Release 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mälda frågor </a:t>
            </a:r>
          </a:p>
          <a:p>
            <a:pPr marL="285750" indent="-285750">
              <a:lnSpc>
                <a:spcPct val="100000"/>
              </a:lnSpc>
              <a:spcBef>
                <a:spcPts val="0"/>
              </a:spcBef>
              <a:spcAft>
                <a:spcPts val="1800"/>
              </a:spcAft>
              <a:buFont typeface="Arial,Sans-Serif" panose="020B0604020202020204" pitchFamily="34" charset="0"/>
            </a:pPr>
            <a:r>
              <a:rPr lang="sv-SE" b="1" dirty="0">
                <a:solidFill>
                  <a:schemeClr val="tx1"/>
                </a:solidFill>
                <a:ea typeface="Open Sans"/>
                <a:cs typeface="Open Sans"/>
              </a:rPr>
              <a:t>Sammanfattning av användarforum</a:t>
            </a:r>
          </a:p>
          <a:p>
            <a:pPr marL="0" indent="0">
              <a:lnSpc>
                <a:spcPct val="100000"/>
              </a:lnSpc>
              <a:spcBef>
                <a:spcPts val="0"/>
              </a:spcBef>
              <a:spcAft>
                <a:spcPts val="1800"/>
              </a:spcAft>
              <a:buNone/>
            </a:pPr>
            <a:r>
              <a:rPr lang="sv-SE" dirty="0">
                <a:solidFill>
                  <a:schemeClr val="tx1"/>
                </a:solidFill>
                <a:ea typeface="Open Sans"/>
                <a:cs typeface="Open Sans"/>
              </a:rPr>
              <a:t> </a:t>
            </a:r>
          </a:p>
        </p:txBody>
      </p:sp>
      <p:sp>
        <p:nvSpPr>
          <p:cNvPr id="3" name="Platshållare för sidfot 2">
            <a:extLst>
              <a:ext uri="{FF2B5EF4-FFF2-40B4-BE49-F238E27FC236}">
                <a16:creationId xmlns:a16="http://schemas.microsoft.com/office/drawing/2014/main" id="{9B9BDEB0-A059-4A27-A7FB-18D322E606A2}"/>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F71C981C-F9F9-4167-9BDA-91B21A785F04}"/>
              </a:ext>
            </a:extLst>
          </p:cNvPr>
          <p:cNvSpPr>
            <a:spLocks noGrp="1"/>
          </p:cNvSpPr>
          <p:nvPr>
            <p:ph type="sldNum" sz="quarter" idx="12"/>
          </p:nvPr>
        </p:nvSpPr>
        <p:spPr/>
        <p:txBody>
          <a:bodyPr/>
          <a:lstStyle/>
          <a:p>
            <a:fld id="{7FF155A8-5C6D-4241-95DF-81E4F2B16EE5}" type="slidenum">
              <a:rPr lang="sv-SE" smtClean="0"/>
              <a:pPr/>
              <a:t>75</a:t>
            </a:fld>
            <a:endParaRPr lang="sv-SE"/>
          </a:p>
        </p:txBody>
      </p:sp>
    </p:spTree>
    <p:extLst>
      <p:ext uri="{BB962C8B-B14F-4D97-AF65-F5344CB8AC3E}">
        <p14:creationId xmlns:p14="http://schemas.microsoft.com/office/powerpoint/2010/main" val="40010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76840DE-D0FF-4145-843F-B1AB943A3D65}"/>
              </a:ext>
            </a:extLst>
          </p:cNvPr>
          <p:cNvSpPr>
            <a:spLocks noGrp="1"/>
          </p:cNvSpPr>
          <p:nvPr>
            <p:ph type="title"/>
          </p:nvPr>
        </p:nvSpPr>
        <p:spPr/>
        <p:txBody>
          <a:bodyPr/>
          <a:lstStyle/>
          <a:p>
            <a:r>
              <a:rPr lang="sv-SE" dirty="0"/>
              <a:t>Sammanfattning av dagens användarforum</a:t>
            </a:r>
          </a:p>
        </p:txBody>
      </p:sp>
      <p:sp>
        <p:nvSpPr>
          <p:cNvPr id="3" name="Platshållare för innehåll 2">
            <a:extLst>
              <a:ext uri="{FF2B5EF4-FFF2-40B4-BE49-F238E27FC236}">
                <a16:creationId xmlns:a16="http://schemas.microsoft.com/office/drawing/2014/main" id="{8F0BB36F-BDC0-4C02-A2FD-EB8CEA53D633}"/>
              </a:ext>
            </a:extLst>
          </p:cNvPr>
          <p:cNvSpPr>
            <a:spLocks noGrp="1"/>
          </p:cNvSpPr>
          <p:nvPr>
            <p:ph idx="1"/>
          </p:nvPr>
        </p:nvSpPr>
        <p:spPr/>
        <p:txBody>
          <a:bodyPr/>
          <a:lstStyle/>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NKI 2022</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Ny medarbetare</a:t>
            </a:r>
          </a:p>
          <a:p>
            <a:pPr marL="285750" indent="-285750">
              <a:lnSpc>
                <a:spcPct val="100000"/>
              </a:lnSpc>
              <a:spcBef>
                <a:spcPts val="0"/>
              </a:spcBef>
              <a:spcAft>
                <a:spcPts val="1800"/>
              </a:spcAft>
              <a:buFont typeface="Arial,Sans-Serif" panose="020B0604020202020204" pitchFamily="34" charset="0"/>
            </a:pPr>
            <a:r>
              <a:rPr lang="sv-SE">
                <a:solidFill>
                  <a:schemeClr val="tx1"/>
                </a:solidFill>
                <a:ea typeface="Open Sans"/>
                <a:cs typeface="Open Sans"/>
              </a:rPr>
              <a:t>Release </a:t>
            </a:r>
            <a:r>
              <a:rPr lang="sv-SE" dirty="0">
                <a:solidFill>
                  <a:schemeClr val="tx1"/>
                </a:solidFill>
                <a:ea typeface="Open Sans"/>
                <a:cs typeface="Open Sans"/>
              </a:rPr>
              <a:t>31 maj </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Information om IE11</a:t>
            </a:r>
          </a:p>
          <a:p>
            <a:pPr marL="285750" indent="-285750">
              <a:lnSpc>
                <a:spcPct val="100000"/>
              </a:lnSpc>
              <a:spcBef>
                <a:spcPts val="0"/>
              </a:spcBef>
              <a:spcAft>
                <a:spcPts val="1800"/>
              </a:spcAft>
              <a:buFont typeface="Arial,Sans-Serif" panose="020B0604020202020204" pitchFamily="34" charset="0"/>
            </a:pPr>
            <a:r>
              <a:rPr lang="sv-SE" dirty="0">
                <a:solidFill>
                  <a:schemeClr val="tx1"/>
                </a:solidFill>
                <a:ea typeface="Open Sans"/>
                <a:cs typeface="Open Sans"/>
              </a:rPr>
              <a:t>Användartester flaggor</a:t>
            </a:r>
          </a:p>
          <a:p>
            <a:pPr marL="0" indent="0">
              <a:buNone/>
            </a:pPr>
            <a:endParaRPr lang="sv-SE" dirty="0"/>
          </a:p>
        </p:txBody>
      </p:sp>
      <p:sp>
        <p:nvSpPr>
          <p:cNvPr id="4" name="Platshållare för sidfot 3">
            <a:extLst>
              <a:ext uri="{FF2B5EF4-FFF2-40B4-BE49-F238E27FC236}">
                <a16:creationId xmlns:a16="http://schemas.microsoft.com/office/drawing/2014/main" id="{79CFE46A-FE09-46F7-953A-876A2F174B7A}"/>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9F2390D9-FD4B-49A5-A84A-D5E6DDB850E4}"/>
              </a:ext>
            </a:extLst>
          </p:cNvPr>
          <p:cNvSpPr>
            <a:spLocks noGrp="1"/>
          </p:cNvSpPr>
          <p:nvPr>
            <p:ph type="sldNum" sz="quarter" idx="12"/>
          </p:nvPr>
        </p:nvSpPr>
        <p:spPr/>
        <p:txBody>
          <a:bodyPr/>
          <a:lstStyle/>
          <a:p>
            <a:fld id="{D1B389D8-6223-4B1D-82AB-19C377706A8C}" type="slidenum">
              <a:rPr lang="sv-SE" smtClean="0"/>
              <a:t>76</a:t>
            </a:fld>
            <a:endParaRPr lang="sv-SE"/>
          </a:p>
        </p:txBody>
      </p:sp>
    </p:spTree>
    <p:extLst>
      <p:ext uri="{BB962C8B-B14F-4D97-AF65-F5344CB8AC3E}">
        <p14:creationId xmlns:p14="http://schemas.microsoft.com/office/powerpoint/2010/main" val="423081881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28D93B-810B-4496-B5A7-8067431BE536}"/>
              </a:ext>
            </a:extLst>
          </p:cNvPr>
          <p:cNvSpPr>
            <a:spLocks noGrp="1"/>
          </p:cNvSpPr>
          <p:nvPr>
            <p:ph type="title"/>
          </p:nvPr>
        </p:nvSpPr>
        <p:spPr>
          <a:xfrm>
            <a:off x="838200" y="1540043"/>
            <a:ext cx="10515600" cy="4588041"/>
          </a:xfrm>
        </p:spPr>
        <p:txBody>
          <a:bodyPr/>
          <a:lstStyle/>
          <a:p>
            <a:r>
              <a:rPr lang="sv-SE"/>
              <a:t>Tack för er uppmärksamhet!</a:t>
            </a:r>
            <a:br>
              <a:rPr lang="sv-SE"/>
            </a:br>
            <a:br>
              <a:rPr lang="sv-SE" sz="2400">
                <a:latin typeface="+mn-lt"/>
              </a:rPr>
            </a:br>
            <a:r>
              <a:rPr lang="sv-SE" sz="2400">
                <a:ea typeface="+mj-lt"/>
                <a:cs typeface="+mj-lt"/>
              </a:rPr>
              <a:t>Finns det fördjupningsområde ni är intresserade av att höra om eller kanske själva prata om? Skicka ett ärende till supporten och tagga med ”Användarforum”</a:t>
            </a:r>
            <a:endParaRPr lang="sv-SE">
              <a:ea typeface="+mj-lt"/>
              <a:cs typeface="+mj-lt"/>
            </a:endParaRPr>
          </a:p>
        </p:txBody>
      </p:sp>
      <p:sp>
        <p:nvSpPr>
          <p:cNvPr id="3" name="Platshållare för sidfot 2">
            <a:extLst>
              <a:ext uri="{FF2B5EF4-FFF2-40B4-BE49-F238E27FC236}">
                <a16:creationId xmlns:a16="http://schemas.microsoft.com/office/drawing/2014/main" id="{1B2485EB-416D-41A4-8A24-F8A094637633}"/>
              </a:ext>
            </a:extLst>
          </p:cNvPr>
          <p:cNvSpPr>
            <a:spLocks noGrp="1"/>
          </p:cNvSpPr>
          <p:nvPr>
            <p:ph type="ftr" sz="quarter" idx="3"/>
          </p:nvPr>
        </p:nvSpPr>
        <p:spPr/>
        <p:txBody>
          <a:bodyPr/>
          <a:lstStyle/>
          <a:p>
            <a:endParaRPr lang="sv-SE"/>
          </a:p>
        </p:txBody>
      </p:sp>
      <p:sp>
        <p:nvSpPr>
          <p:cNvPr id="4" name="Platshållare för bildnummer 3">
            <a:extLst>
              <a:ext uri="{FF2B5EF4-FFF2-40B4-BE49-F238E27FC236}">
                <a16:creationId xmlns:a16="http://schemas.microsoft.com/office/drawing/2014/main" id="{60576C32-35B8-4D1C-9C86-5C58C6FF8AD2}"/>
              </a:ext>
            </a:extLst>
          </p:cNvPr>
          <p:cNvSpPr>
            <a:spLocks noGrp="1"/>
          </p:cNvSpPr>
          <p:nvPr>
            <p:ph type="sldNum" sz="quarter" idx="4"/>
          </p:nvPr>
        </p:nvSpPr>
        <p:spPr/>
        <p:txBody>
          <a:bodyPr/>
          <a:lstStyle/>
          <a:p>
            <a:fld id="{7FF155A8-5C6D-4241-95DF-81E4F2B16EE5}" type="slidenum">
              <a:rPr lang="sv-SE" smtClean="0"/>
              <a:pPr/>
              <a:t>77</a:t>
            </a:fld>
            <a:endParaRPr lang="sv-SE"/>
          </a:p>
        </p:txBody>
      </p:sp>
    </p:spTree>
    <p:extLst>
      <p:ext uri="{BB962C8B-B14F-4D97-AF65-F5344CB8AC3E}">
        <p14:creationId xmlns:p14="http://schemas.microsoft.com/office/powerpoint/2010/main" val="2219666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60609DC-73DB-4AAA-AB7F-1868A695E383}"/>
              </a:ext>
            </a:extLst>
          </p:cNvPr>
          <p:cNvSpPr>
            <a:spLocks noGrp="1"/>
          </p:cNvSpPr>
          <p:nvPr>
            <p:ph type="title"/>
          </p:nvPr>
        </p:nvSpPr>
        <p:spPr>
          <a:xfrm>
            <a:off x="874296" y="84221"/>
            <a:ext cx="10072630" cy="1149264"/>
          </a:xfrm>
        </p:spPr>
        <p:txBody>
          <a:bodyPr anchor="b">
            <a:normAutofit/>
          </a:bodyPr>
          <a:lstStyle/>
          <a:p>
            <a:r>
              <a:rPr lang="sv-SE" dirty="0"/>
              <a:t>Invånare: Hur ser vår NKI ut? </a:t>
            </a:r>
          </a:p>
        </p:txBody>
      </p:sp>
      <p:pic>
        <p:nvPicPr>
          <p:cNvPr id="8" name="Platshållare för innehåll 7">
            <a:extLst>
              <a:ext uri="{FF2B5EF4-FFF2-40B4-BE49-F238E27FC236}">
                <a16:creationId xmlns:a16="http://schemas.microsoft.com/office/drawing/2014/main" id="{717D4156-B74A-4140-9E9C-2B405124C8E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4009531" y="1777249"/>
            <a:ext cx="3216985" cy="3564527"/>
          </a:xfrm>
          <a:noFill/>
        </p:spPr>
      </p:pic>
      <p:sp>
        <p:nvSpPr>
          <p:cNvPr id="20" name="Footer Placeholder 3">
            <a:extLst>
              <a:ext uri="{FF2B5EF4-FFF2-40B4-BE49-F238E27FC236}">
                <a16:creationId xmlns:a16="http://schemas.microsoft.com/office/drawing/2014/main" id="{222C7352-B0EC-F07C-D7E4-332D9860E8DF}"/>
              </a:ext>
            </a:extLst>
          </p:cNvPr>
          <p:cNvSpPr>
            <a:spLocks noGrp="1"/>
          </p:cNvSpPr>
          <p:nvPr>
            <p:ph type="ftr" sz="quarter" idx="11"/>
          </p:nvPr>
        </p:nvSpPr>
        <p:spPr>
          <a:xfrm>
            <a:off x="711722" y="6311973"/>
            <a:ext cx="4114800" cy="365125"/>
          </a:xfrm>
        </p:spPr>
        <p:txBody>
          <a:bodyPr/>
          <a:lstStyle/>
          <a:p>
            <a:endParaRPr lang="sv-SE"/>
          </a:p>
        </p:txBody>
      </p:sp>
      <p:sp>
        <p:nvSpPr>
          <p:cNvPr id="5" name="Platshållare för bildnummer 4">
            <a:extLst>
              <a:ext uri="{FF2B5EF4-FFF2-40B4-BE49-F238E27FC236}">
                <a16:creationId xmlns:a16="http://schemas.microsoft.com/office/drawing/2014/main" id="{A3279711-542C-40F7-96B9-54F1F6807891}"/>
              </a:ext>
            </a:extLst>
          </p:cNvPr>
          <p:cNvSpPr>
            <a:spLocks noGrp="1"/>
          </p:cNvSpPr>
          <p:nvPr>
            <p:ph type="sldNum" sz="quarter" idx="12"/>
          </p:nvPr>
        </p:nvSpPr>
        <p:spPr>
          <a:xfrm>
            <a:off x="276721" y="6311994"/>
            <a:ext cx="390055" cy="365125"/>
          </a:xfrm>
        </p:spPr>
        <p:txBody>
          <a:bodyPr anchor="ctr">
            <a:normAutofit/>
          </a:bodyPr>
          <a:lstStyle/>
          <a:p>
            <a:pPr>
              <a:spcAft>
                <a:spcPts val="600"/>
              </a:spcAft>
            </a:pPr>
            <a:fld id="{7FF155A8-5C6D-4241-95DF-81E4F2B16EE5}" type="slidenum">
              <a:rPr lang="sv-SE" smtClean="0"/>
              <a:pPr>
                <a:spcAft>
                  <a:spcPts val="600"/>
                </a:spcAft>
              </a:pPr>
              <a:t>8</a:t>
            </a:fld>
            <a:endParaRPr lang="sv-SE"/>
          </a:p>
        </p:txBody>
      </p:sp>
    </p:spTree>
    <p:extLst>
      <p:ext uri="{BB962C8B-B14F-4D97-AF65-F5344CB8AC3E}">
        <p14:creationId xmlns:p14="http://schemas.microsoft.com/office/powerpoint/2010/main" val="4220832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3E8B1F1-7371-474A-9E41-FC7F659362E8}"/>
              </a:ext>
            </a:extLst>
          </p:cNvPr>
          <p:cNvSpPr>
            <a:spLocks noGrp="1"/>
          </p:cNvSpPr>
          <p:nvPr>
            <p:ph type="title"/>
          </p:nvPr>
        </p:nvSpPr>
        <p:spPr/>
        <p:txBody>
          <a:bodyPr/>
          <a:lstStyle/>
          <a:p>
            <a:r>
              <a:rPr lang="sv-SE" dirty="0"/>
              <a:t>Vem har besvarat enkäten?</a:t>
            </a:r>
          </a:p>
        </p:txBody>
      </p:sp>
      <p:sp>
        <p:nvSpPr>
          <p:cNvPr id="4" name="Platshållare för sidfot 3">
            <a:extLst>
              <a:ext uri="{FF2B5EF4-FFF2-40B4-BE49-F238E27FC236}">
                <a16:creationId xmlns:a16="http://schemas.microsoft.com/office/drawing/2014/main" id="{B4EE2EFF-6911-436C-A4E5-A3A1D720AA0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F441183-1429-4DB1-B8A3-59016F5EAF4A}"/>
              </a:ext>
            </a:extLst>
          </p:cNvPr>
          <p:cNvSpPr>
            <a:spLocks noGrp="1"/>
          </p:cNvSpPr>
          <p:nvPr>
            <p:ph type="sldNum" sz="quarter" idx="12"/>
          </p:nvPr>
        </p:nvSpPr>
        <p:spPr/>
        <p:txBody>
          <a:bodyPr/>
          <a:lstStyle/>
          <a:p>
            <a:fld id="{7FF155A8-5C6D-4241-95DF-81E4F2B16EE5}" type="slidenum">
              <a:rPr lang="sv-SE" smtClean="0"/>
              <a:t>9</a:t>
            </a:fld>
            <a:endParaRPr lang="sv-SE"/>
          </a:p>
        </p:txBody>
      </p:sp>
      <p:graphicFrame>
        <p:nvGraphicFramePr>
          <p:cNvPr id="6" name="Diagram 5">
            <a:extLst>
              <a:ext uri="{FF2B5EF4-FFF2-40B4-BE49-F238E27FC236}">
                <a16:creationId xmlns:a16="http://schemas.microsoft.com/office/drawing/2014/main" id="{49E307A1-2C7F-4593-A276-5EF397B51A7E}"/>
              </a:ext>
            </a:extLst>
          </p:cNvPr>
          <p:cNvGraphicFramePr>
            <a:graphicFrameLocks/>
          </p:cNvGraphicFramePr>
          <p:nvPr/>
        </p:nvGraphicFramePr>
        <p:xfrm>
          <a:off x="666776" y="1343581"/>
          <a:ext cx="6449958" cy="417083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Diagram 6">
            <a:extLst>
              <a:ext uri="{FF2B5EF4-FFF2-40B4-BE49-F238E27FC236}">
                <a16:creationId xmlns:a16="http://schemas.microsoft.com/office/drawing/2014/main" id="{2C4AF4D5-CD87-42C0-A94F-0A601A1A8A70}"/>
              </a:ext>
            </a:extLst>
          </p:cNvPr>
          <p:cNvGraphicFramePr>
            <a:graphicFrameLocks/>
          </p:cNvGraphicFramePr>
          <p:nvPr/>
        </p:nvGraphicFramePr>
        <p:xfrm>
          <a:off x="7374684" y="2525917"/>
          <a:ext cx="4477589" cy="307903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0872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12" ma:contentTypeDescription="Skapa ett nytt dokument." ma:contentTypeScope="" ma:versionID="d6f32c856bac6dcaf667985d7ac77902">
  <xsd:schema xmlns:xsd="http://www.w3.org/2001/XMLSchema" xmlns:xs="http://www.w3.org/2001/XMLSchema" xmlns:p="http://schemas.microsoft.com/office/2006/metadata/properties" xmlns:ns2="69252be8-17ef-4408-949c-5e7cc87314a9" xmlns:ns3="820a17fa-c612-436a-ad40-1f0b54d174c8" targetNamespace="http://schemas.microsoft.com/office/2006/metadata/properties" ma:root="true" ma:fieldsID="d3392acbbc36e96ac2a66d13341b06e5" ns2:_="" ns3:_="">
    <xsd:import namespace="69252be8-17ef-4408-949c-5e7cc87314a9"/>
    <xsd:import namespace="820a17fa-c612-436a-ad40-1f0b54d174c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lcf76f155ced4ddcb4097134ff3c332f" ma:index="17" nillable="true" ma:taxonomy="true" ma:internalName="lcf76f155ced4ddcb4097134ff3c332f" ma:taxonomyFieldName="MediaServiceImageTags" ma:displayName="Bildmarkeringar" ma:readOnly="false" ma:fieldId="{5cf76f15-5ced-4ddc-b409-7134ff3c332f}" ma:taxonomyMulti="true" ma:sspId="d24b8daa-ea0d-4019-ac30-410f7b645d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20a17fa-c612-436a-ad40-1f0b54d174c8"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a55771c1-dc24-4a76-bc59-e65bba6642bc}" ma:internalName="TaxCatchAll" ma:showField="CatchAllData" ma:web="820a17fa-c612-436a-ad40-1f0b54d174c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252be8-17ef-4408-949c-5e7cc87314a9">
      <Terms xmlns="http://schemas.microsoft.com/office/infopath/2007/PartnerControls"/>
    </lcf76f155ced4ddcb4097134ff3c332f>
    <TaxCatchAll xmlns="820a17fa-c612-436a-ad40-1f0b54d174c8" xsi:nil="true"/>
  </documentManagement>
</p:properties>
</file>

<file path=customXml/itemProps1.xml><?xml version="1.0" encoding="utf-8"?>
<ds:datastoreItem xmlns:ds="http://schemas.openxmlformats.org/officeDocument/2006/customXml" ds:itemID="{BF39C443-8A24-4721-8FEE-5A9F34458A2B}">
  <ds:schemaRefs>
    <ds:schemaRef ds:uri="69252be8-17ef-4408-949c-5e7cc87314a9"/>
    <ds:schemaRef ds:uri="820a17fa-c612-436a-ad40-1f0b54d174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5AB53AA-EBE4-46F9-A91E-045D87E59A56}">
  <ds:schemaRefs>
    <ds:schemaRef ds:uri="http://schemas.microsoft.com/sharepoint/v3/contenttype/forms"/>
  </ds:schemaRefs>
</ds:datastoreItem>
</file>

<file path=customXml/itemProps3.xml><?xml version="1.0" encoding="utf-8"?>
<ds:datastoreItem xmlns:ds="http://schemas.openxmlformats.org/officeDocument/2006/customXml" ds:itemID="{54068680-729C-46D7-81EE-A3EC47914E3B}">
  <ds:schemaRefs>
    <ds:schemaRef ds:uri="69252be8-17ef-4408-949c-5e7cc87314a9"/>
    <ds:schemaRef ds:uri="820a17fa-c612-436a-ad40-1f0b54d174c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760</TotalTime>
  <Words>4792</Words>
  <Application>Microsoft Office PowerPoint</Application>
  <PresentationFormat>Bredbild</PresentationFormat>
  <Paragraphs>599</Paragraphs>
  <Slides>78</Slides>
  <Notes>9</Notes>
  <HiddenSlides>0</HiddenSlides>
  <MMClips>0</MMClips>
  <ScaleCrop>false</ScaleCrop>
  <HeadingPairs>
    <vt:vector size="8" baseType="variant">
      <vt:variant>
        <vt:lpstr>Använt teckensnitt</vt:lpstr>
      </vt:variant>
      <vt:variant>
        <vt:i4>9</vt:i4>
      </vt:variant>
      <vt:variant>
        <vt:lpstr>Tema</vt:lpstr>
      </vt:variant>
      <vt:variant>
        <vt:i4>1</vt:i4>
      </vt:variant>
      <vt:variant>
        <vt:lpstr>Serverprogram för OLE-inbäddning</vt:lpstr>
      </vt:variant>
      <vt:variant>
        <vt:i4>1</vt:i4>
      </vt:variant>
      <vt:variant>
        <vt:lpstr>Bildrubriker</vt:lpstr>
      </vt:variant>
      <vt:variant>
        <vt:i4>78</vt:i4>
      </vt:variant>
    </vt:vector>
  </HeadingPairs>
  <TitlesOfParts>
    <vt:vector size="89" baseType="lpstr">
      <vt:lpstr>Arial</vt:lpstr>
      <vt:lpstr>Arial,Sans-Serif</vt:lpstr>
      <vt:lpstr>Calibri</vt:lpstr>
      <vt:lpstr>Candara</vt:lpstr>
      <vt:lpstr>Inter</vt:lpstr>
      <vt:lpstr>Open Sans</vt:lpstr>
      <vt:lpstr>Open Sans ExtraBold</vt:lpstr>
      <vt:lpstr>Segoe UI</vt:lpstr>
      <vt:lpstr>Wingdings</vt:lpstr>
      <vt:lpstr>1177 Vårguiden</vt:lpstr>
      <vt:lpstr>think-cell Slide</vt:lpstr>
      <vt:lpstr>Användarforum    Stöd och behandling</vt:lpstr>
      <vt:lpstr>Innan vi börjar….</vt:lpstr>
      <vt:lpstr>Syfte: Koordinera och samla in behov samt kanal för informations- och erfarenhetsutbyte</vt:lpstr>
      <vt:lpstr>Agenda</vt:lpstr>
      <vt:lpstr>NKI – Nöjd kund index 2022</vt:lpstr>
      <vt:lpstr>NKI – Nöjd kund index 2022</vt:lpstr>
      <vt:lpstr>PowerPoint-presentation</vt:lpstr>
      <vt:lpstr>Invånare: Hur ser vår NKI ut? </vt:lpstr>
      <vt:lpstr>Vem har besvarat enkäten?</vt:lpstr>
      <vt:lpstr>Användarupplevelsen</vt:lpstr>
      <vt:lpstr>Rekommendation</vt:lpstr>
      <vt:lpstr>Det totala NKI-värdet</vt:lpstr>
      <vt:lpstr>Invånare: Fritextsvar</vt:lpstr>
      <vt:lpstr>Vad tar den nationella förvaltningen med sig av svaren?  </vt:lpstr>
      <vt:lpstr>Meddelande</vt:lpstr>
      <vt:lpstr>Navigera i moment  </vt:lpstr>
      <vt:lpstr>Små enheter (mobilvy) </vt:lpstr>
      <vt:lpstr>Övrigt</vt:lpstr>
      <vt:lpstr>Vad har den nationella förvaltningen uppmärksammat för er i regionerna?  </vt:lpstr>
      <vt:lpstr>Hur ska de arbeta i momenten?</vt:lpstr>
      <vt:lpstr>Innehåll och språk</vt:lpstr>
      <vt:lpstr>Citat från invånare om innehåll och språk</vt:lpstr>
      <vt:lpstr>Citat från invånare om innehåll och språk</vt:lpstr>
      <vt:lpstr>Kommunikation</vt:lpstr>
      <vt:lpstr>Citat från invånare om kommunikationen</vt:lpstr>
      <vt:lpstr>Lämpligheten</vt:lpstr>
      <vt:lpstr>Citat om lämpligheten</vt:lpstr>
      <vt:lpstr>Uppsamlade aviseringar</vt:lpstr>
      <vt:lpstr>Positiva ord har också inkommit ….</vt:lpstr>
      <vt:lpstr>Personal: Hur ser vår NKI ut? </vt:lpstr>
      <vt:lpstr>Vem har besvarat enkäten?</vt:lpstr>
      <vt:lpstr>Användarvänlighet</vt:lpstr>
      <vt:lpstr>Stöd på arbetsplatsen </vt:lpstr>
      <vt:lpstr>Relevans</vt:lpstr>
      <vt:lpstr>Information till invånaren</vt:lpstr>
      <vt:lpstr>Det totala NKI-värdet</vt:lpstr>
      <vt:lpstr>Det totala NKI-värdet</vt:lpstr>
      <vt:lpstr>Personal: Fritextsvar</vt:lpstr>
      <vt:lpstr>Vad tar den nationella förvaltningen med sig av svaren?  </vt:lpstr>
      <vt:lpstr>Gränssnitt </vt:lpstr>
      <vt:lpstr>Journalintegration</vt:lpstr>
      <vt:lpstr>Inloggning för personal </vt:lpstr>
      <vt:lpstr>Krånglig inloggning för invånaren</vt:lpstr>
      <vt:lpstr>Meddelande</vt:lpstr>
      <vt:lpstr>Vad har den nationella förvaltningen uppmärksammat för er i regionerna?  </vt:lpstr>
      <vt:lpstr>Vilka moment finns?</vt:lpstr>
      <vt:lpstr>Citat från personal om vilka moment som finns </vt:lpstr>
      <vt:lpstr>Innehåll i moment</vt:lpstr>
      <vt:lpstr>Citat från personal om innehåll</vt:lpstr>
      <vt:lpstr>Webbläsare</vt:lpstr>
      <vt:lpstr>Utbildningsbehov </vt:lpstr>
      <vt:lpstr>Positiva ord har också inkommit ….</vt:lpstr>
      <vt:lpstr>Sammanfattning </vt:lpstr>
      <vt:lpstr>Hur kan ni i regionerna nå informationen?  </vt:lpstr>
      <vt:lpstr>Agenda</vt:lpstr>
      <vt:lpstr>Ny medarbetare, en till i nationella teamet - Björn</vt:lpstr>
      <vt:lpstr>PowerPoint-presentation</vt:lpstr>
      <vt:lpstr>Förvaltningsundersökning 2021</vt:lpstr>
      <vt:lpstr>Agenda</vt:lpstr>
      <vt:lpstr>Release SOB2022:1 tisdag 31 maj kl 17:00—21:30</vt:lpstr>
      <vt:lpstr>Agenda</vt:lpstr>
      <vt:lpstr>Information om Internet explorer 11</vt:lpstr>
      <vt:lpstr>Agenda</vt:lpstr>
      <vt:lpstr>Vilken metod har vi använt och vilka har vi lyssnat på?</vt:lpstr>
      <vt:lpstr>Vad har vi testat?</vt:lpstr>
      <vt:lpstr>Vad har vi testat?</vt:lpstr>
      <vt:lpstr>PowerPoint-presentation</vt:lpstr>
      <vt:lpstr>Mål med arbetsdagen </vt:lpstr>
      <vt:lpstr>Respondenternas respons på vårt förslag   </vt:lpstr>
      <vt:lpstr>Förbättringsförslag som är under utredning</vt:lpstr>
      <vt:lpstr>Nästa steg med flaggor </vt:lpstr>
      <vt:lpstr>Inför framtida test</vt:lpstr>
      <vt:lpstr>Agenda</vt:lpstr>
      <vt:lpstr>Anmälda frågor</vt:lpstr>
      <vt:lpstr>Agenda</vt:lpstr>
      <vt:lpstr>Sammanfattning av dagens användarforum</vt:lpstr>
      <vt:lpstr>Tack för er uppmärksamhet!  Finns det fördjupningsområde ni är intresserade av att höra om eller kanske själva prata om? Skicka ett ärende till supporten och tagga med ”Användarforum”</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Axelsson Jenny</cp:lastModifiedBy>
  <cp:revision>191</cp:revision>
  <dcterms:created xsi:type="dcterms:W3CDTF">2019-08-13T08:23:18Z</dcterms:created>
  <dcterms:modified xsi:type="dcterms:W3CDTF">2022-05-20T11:39: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y fmtid="{D5CDD505-2E9C-101B-9397-08002B2CF9AE}" pid="3" name="MediaServiceImageTags">
    <vt:lpwstr/>
  </property>
</Properties>
</file>